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28"/>
  </p:notesMasterIdLst>
  <p:handoutMasterIdLst>
    <p:handoutMasterId r:id="rId29"/>
  </p:handoutMasterIdLst>
  <p:sldIdLst>
    <p:sldId id="388" r:id="rId5"/>
    <p:sldId id="386" r:id="rId6"/>
    <p:sldId id="395" r:id="rId7"/>
    <p:sldId id="396" r:id="rId8"/>
    <p:sldId id="415" r:id="rId9"/>
    <p:sldId id="423" r:id="rId10"/>
    <p:sldId id="427" r:id="rId11"/>
    <p:sldId id="428" r:id="rId12"/>
    <p:sldId id="429" r:id="rId13"/>
    <p:sldId id="431" r:id="rId14"/>
    <p:sldId id="430" r:id="rId15"/>
    <p:sldId id="398" r:id="rId16"/>
    <p:sldId id="397" r:id="rId17"/>
    <p:sldId id="425" r:id="rId18"/>
    <p:sldId id="432" r:id="rId19"/>
    <p:sldId id="433" r:id="rId20"/>
    <p:sldId id="434" r:id="rId21"/>
    <p:sldId id="435" r:id="rId22"/>
    <p:sldId id="406" r:id="rId23"/>
    <p:sldId id="336" r:id="rId24"/>
    <p:sldId id="436" r:id="rId25"/>
    <p:sldId id="437" r:id="rId26"/>
    <p:sldId id="438" r:id="rId27"/>
  </p:sldIdLst>
  <p:sldSz cx="9144000" cy="5143500" type="screen16x9"/>
  <p:notesSz cx="6858000" cy="9144000"/>
  <p:embeddedFontLst>
    <p:embeddedFont>
      <p:font typeface="Tahoma" panose="020B0604030504040204" pitchFamily="34" charset="0"/>
      <p:regular r:id="rId30"/>
      <p:bold r:id="rId31"/>
    </p:embeddedFon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Futura Bk" panose="020B0502020204020303" charset="0"/>
      <p:regular r:id="rId36"/>
      <p:bold r:id="rId37"/>
      <p:italic r:id="rId38"/>
    </p:embeddedFont>
    <p:embeddedFont>
      <p:font typeface="Lucida Grande" panose="020B0604020202020204" charset="0"/>
      <p:regular r:id="rId39"/>
      <p:bold r:id="rId40"/>
      <p:italic r:id="rId41"/>
      <p:boldItalic r:id="rId42"/>
    </p:embeddedFont>
    <p:embeddedFont>
      <p:font typeface="HP Simplified" panose="020B0604020202020204" charset="0"/>
      <p:regular r:id="rId43"/>
      <p:bold r:id="rId44"/>
      <p:italic r:id="rId45"/>
      <p:boldItalic r:id="rId46"/>
    </p:embeddedFont>
    <p:embeddedFont>
      <p:font typeface="Futura Hv" panose="020B0702020204020204" charset="0"/>
      <p:regular r:id="rId47"/>
    </p:embeddedFont>
  </p:embeddedFontLst>
  <p:custDataLst>
    <p:tags r:id="rId4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C1FF"/>
    <a:srgbClr val="00A4EE"/>
    <a:srgbClr val="B9B8BB"/>
    <a:srgbClr val="01B0FF"/>
    <a:srgbClr val="0C559A"/>
    <a:srgbClr val="1A5D9D"/>
    <a:srgbClr val="0D5297"/>
    <a:srgbClr val="1098D2"/>
    <a:srgbClr val="FAAF3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97" autoAdjust="0"/>
    <p:restoredTop sz="94434" autoAdjust="0"/>
  </p:normalViewPr>
  <p:slideViewPr>
    <p:cSldViewPr snapToGrid="0">
      <p:cViewPr varScale="1">
        <p:scale>
          <a:sx n="93" d="100"/>
          <a:sy n="93" d="100"/>
        </p:scale>
        <p:origin x="510" y="90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10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41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7.fntdata"/><Relationship Id="rId49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21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21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10953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www.edureka.co/hadoop-admin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8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23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01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24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hadoop.apache.org/docs/stable2/hadoop-yarn/hadoop-yarn-site/HDFSHighAvailabilityWithNFS.html" TargetMode="Externa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3368203"/>
            <a:ext cx="9144000" cy="995076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Hadoop : A Highly Available and Secure Enterprise </a:t>
            </a:r>
            <a:endParaRPr lang="en-US" sz="2800" b="1" dirty="0" smtClean="0"/>
          </a:p>
          <a:p>
            <a:pPr algn="ctr"/>
            <a:r>
              <a:rPr lang="en-US" sz="2800" b="1" dirty="0" smtClean="0"/>
              <a:t>Data Warehousing </a:t>
            </a:r>
            <a:r>
              <a:rPr lang="en-US" sz="2800" b="1" dirty="0"/>
              <a:t>Solu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5720" y="598658"/>
            <a:ext cx="3689970" cy="2901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 Availability</a:t>
            </a:r>
            <a:endParaRPr lang="en-US" sz="3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7573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Maintaining High Availability 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96620" y="733078"/>
            <a:ext cx="89473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Distributed Computing, </a:t>
            </a: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ilure is a norm, which means YARN should have acceptable amount of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vailability</a:t>
            </a:r>
            <a:endParaRPr lang="en-US" sz="140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3416" y="4417455"/>
            <a:ext cx="3176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meNode - No Horizontal Scale</a:t>
            </a:r>
            <a:endParaRPr lang="en-IN" sz="1200" b="1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25259" y="4398878"/>
            <a:ext cx="3176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meNode - No High Availability</a:t>
            </a:r>
            <a:endParaRPr lang="en-IN" sz="1200" b="1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5442668" y="1432823"/>
            <a:ext cx="2887847" cy="2549030"/>
            <a:chOff x="5646553" y="1047750"/>
            <a:chExt cx="2887847" cy="2549030"/>
          </a:xfrm>
        </p:grpSpPr>
        <p:grpSp>
          <p:nvGrpSpPr>
            <p:cNvPr id="28" name="Group 27"/>
            <p:cNvGrpSpPr/>
            <p:nvPr/>
          </p:nvGrpSpPr>
          <p:grpSpPr>
            <a:xfrm>
              <a:off x="5977458" y="1047750"/>
              <a:ext cx="2556942" cy="2549030"/>
              <a:chOff x="5977458" y="1047750"/>
              <a:chExt cx="2556942" cy="2549030"/>
            </a:xfrm>
          </p:grpSpPr>
          <p:pic>
            <p:nvPicPr>
              <p:cNvPr id="30" name="Picture 29" descr="PPT_Hadoop cluster-7.jpg"/>
              <p:cNvPicPr>
                <a:picLocks noChangeAspect="1"/>
              </p:cNvPicPr>
              <p:nvPr/>
            </p:nvPicPr>
            <p:blipFill rotWithShape="1">
              <a:blip r:embed="rId2" cstate="print"/>
              <a:srcRect l="10138" t="28507" r="66326" b="49208"/>
              <a:stretch/>
            </p:blipFill>
            <p:spPr>
              <a:xfrm>
                <a:off x="6907940" y="2404043"/>
                <a:ext cx="1626460" cy="1192737"/>
              </a:xfrm>
              <a:prstGeom prst="rect">
                <a:avLst/>
              </a:prstGeom>
            </p:spPr>
          </p:pic>
          <p:pic>
            <p:nvPicPr>
              <p:cNvPr id="31" name="Picture 30" descr="PPT_Hadoop cluster-7.jpg"/>
              <p:cNvPicPr>
                <a:picLocks noChangeAspect="1"/>
              </p:cNvPicPr>
              <p:nvPr/>
            </p:nvPicPr>
            <p:blipFill rotWithShape="1">
              <a:blip r:embed="rId2" cstate="print"/>
              <a:srcRect l="10138" t="28507" r="66326" b="49208"/>
              <a:stretch/>
            </p:blipFill>
            <p:spPr>
              <a:xfrm>
                <a:off x="6907940" y="1047750"/>
                <a:ext cx="1626460" cy="1192737"/>
              </a:xfrm>
              <a:prstGeom prst="rect">
                <a:avLst/>
              </a:prstGeom>
            </p:spPr>
          </p:pic>
          <p:sp>
            <p:nvSpPr>
              <p:cNvPr id="32" name="Curved Right Arrow 31"/>
              <p:cNvSpPr/>
              <p:nvPr/>
            </p:nvSpPr>
            <p:spPr>
              <a:xfrm flipV="1">
                <a:off x="5977458" y="1315543"/>
                <a:ext cx="1245459" cy="1871294"/>
              </a:xfrm>
              <a:prstGeom prst="curvedRightArrow">
                <a:avLst/>
              </a:prstGeom>
              <a:gradFill>
                <a:gsLst>
                  <a:gs pos="0">
                    <a:srgbClr val="0070C0"/>
                  </a:gs>
                  <a:gs pos="100000">
                    <a:srgbClr val="002060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4-Point Star 32"/>
              <p:cNvSpPr/>
              <p:nvPr/>
            </p:nvSpPr>
            <p:spPr>
              <a:xfrm rot="8392582" flipV="1">
                <a:off x="7449514" y="2758148"/>
                <a:ext cx="703796" cy="666915"/>
              </a:xfrm>
              <a:prstGeom prst="star4">
                <a:avLst/>
              </a:prstGeom>
              <a:solidFill>
                <a:srgbClr val="FF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4" name="4-Point Star 33"/>
              <p:cNvSpPr/>
              <p:nvPr/>
            </p:nvSpPr>
            <p:spPr>
              <a:xfrm rot="5753916" flipV="1">
                <a:off x="7393614" y="2750277"/>
                <a:ext cx="793134" cy="666915"/>
              </a:xfrm>
              <a:prstGeom prst="star4">
                <a:avLst/>
              </a:prstGeom>
              <a:solidFill>
                <a:srgbClr val="FF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29" name="4-Point Star 28"/>
            <p:cNvSpPr/>
            <p:nvPr/>
          </p:nvSpPr>
          <p:spPr>
            <a:xfrm rot="8392582" flipV="1">
              <a:off x="5646553" y="2070586"/>
              <a:ext cx="703796" cy="666915"/>
            </a:xfrm>
            <a:prstGeom prst="star4">
              <a:avLst/>
            </a:prstGeom>
            <a:solidFill>
              <a:srgbClr val="FF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36455" y="1146016"/>
            <a:ext cx="4256183" cy="3234257"/>
            <a:chOff x="381000" y="1047750"/>
            <a:chExt cx="4256183" cy="3234257"/>
          </a:xfrm>
        </p:grpSpPr>
        <p:sp>
          <p:nvSpPr>
            <p:cNvPr id="13" name="Flowchart: Magnetic Disk 12"/>
            <p:cNvSpPr/>
            <p:nvPr/>
          </p:nvSpPr>
          <p:spPr>
            <a:xfrm>
              <a:off x="381000" y="3054281"/>
              <a:ext cx="762000" cy="1227726"/>
            </a:xfrm>
            <a:prstGeom prst="flowChartMagneticDisk">
              <a:avLst/>
            </a:prstGeom>
            <a:gradFill>
              <a:gsLst>
                <a:gs pos="0">
                  <a:srgbClr val="0070C0"/>
                </a:gs>
                <a:gs pos="100000">
                  <a:srgbClr val="002642"/>
                </a:gs>
              </a:gsLst>
              <a:lin ang="5400000" scaled="1"/>
            </a:gra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ata</a:t>
              </a:r>
            </a:p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de</a:t>
              </a:r>
              <a:endPara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1453888" y="3054281"/>
              <a:ext cx="762000" cy="1227726"/>
            </a:xfrm>
            <a:prstGeom prst="flowChartMagneticDisk">
              <a:avLst/>
            </a:prstGeom>
            <a:gradFill>
              <a:gsLst>
                <a:gs pos="0">
                  <a:srgbClr val="0070C0"/>
                </a:gs>
                <a:gs pos="100000">
                  <a:srgbClr val="002642"/>
                </a:gs>
              </a:gsLst>
              <a:lin ang="5400000" scaled="1"/>
            </a:gra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ata</a:t>
              </a:r>
            </a:p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de</a:t>
              </a:r>
              <a:endPara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749288" y="3054281"/>
              <a:ext cx="762000" cy="1227726"/>
            </a:xfrm>
            <a:prstGeom prst="flowChartMagneticDisk">
              <a:avLst/>
            </a:prstGeom>
            <a:gradFill>
              <a:gsLst>
                <a:gs pos="0">
                  <a:srgbClr val="0070C0"/>
                </a:gs>
                <a:gs pos="100000">
                  <a:srgbClr val="002642"/>
                </a:gs>
              </a:gsLst>
              <a:lin ang="5400000" scaled="1"/>
            </a:gra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ata</a:t>
              </a:r>
            </a:p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de</a:t>
              </a:r>
              <a:endPara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215888" y="3452700"/>
              <a:ext cx="60713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2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….</a:t>
              </a:r>
              <a:endParaRPr lang="en-IN" sz="2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68088" y="1047750"/>
              <a:ext cx="828270" cy="464624"/>
            </a:xfrm>
            <a:prstGeom prst="roundRect">
              <a:avLst/>
            </a:prstGeom>
            <a:gradFill>
              <a:gsLst>
                <a:gs pos="0">
                  <a:srgbClr val="0070C0"/>
                </a:gs>
                <a:gs pos="100000">
                  <a:srgbClr val="002642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7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Client</a:t>
              </a:r>
              <a:endParaRPr lang="en-IN" sz="17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180332" y="1200150"/>
              <a:ext cx="159998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get Block Locations</a:t>
              </a:r>
              <a:endParaRPr lang="en-IN" sz="9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19" name="Straight Arrow Connector 18"/>
            <p:cNvCxnSpPr>
              <a:stCxn id="17" idx="2"/>
              <a:endCxn id="15" idx="1"/>
            </p:cNvCxnSpPr>
            <p:nvPr/>
          </p:nvCxnSpPr>
          <p:spPr>
            <a:xfrm>
              <a:off x="1182223" y="1512374"/>
              <a:ext cx="1948065" cy="1541907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1756243" y="2657966"/>
              <a:ext cx="106924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d Data</a:t>
              </a:r>
              <a:endParaRPr lang="en-IN" sz="9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21" name="Straight Arrow Connector 20"/>
            <p:cNvCxnSpPr>
              <a:stCxn id="17" idx="2"/>
              <a:endCxn id="13" idx="1"/>
            </p:cNvCxnSpPr>
            <p:nvPr/>
          </p:nvCxnSpPr>
          <p:spPr>
            <a:xfrm flipH="1">
              <a:off x="762000" y="1512374"/>
              <a:ext cx="420223" cy="1541907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stCxn id="17" idx="2"/>
              <a:endCxn id="14" idx="1"/>
            </p:cNvCxnSpPr>
            <p:nvPr/>
          </p:nvCxnSpPr>
          <p:spPr>
            <a:xfrm>
              <a:off x="1182223" y="1512374"/>
              <a:ext cx="652665" cy="1541907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23" name="Rounded Rectangle 22"/>
            <p:cNvSpPr/>
            <p:nvPr/>
          </p:nvSpPr>
          <p:spPr>
            <a:xfrm>
              <a:off x="2749288" y="1795915"/>
              <a:ext cx="1887895" cy="911966"/>
            </a:xfrm>
            <a:prstGeom prst="roundRect">
              <a:avLst/>
            </a:prstGeom>
            <a:gradFill>
              <a:gsLst>
                <a:gs pos="0">
                  <a:srgbClr val="00B0F0"/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749288" y="1913911"/>
              <a:ext cx="93166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ameNode</a:t>
              </a:r>
              <a:endParaRPr lang="en-IN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5" name="Isosceles Triangle 24"/>
            <p:cNvSpPr/>
            <p:nvPr/>
          </p:nvSpPr>
          <p:spPr>
            <a:xfrm>
              <a:off x="3780318" y="1794436"/>
              <a:ext cx="733373" cy="515026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S</a:t>
              </a:r>
              <a:endParaRPr lang="en-IN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931235" y="2436143"/>
              <a:ext cx="1524000" cy="202334"/>
            </a:xfrm>
            <a:prstGeom prst="rect">
              <a:avLst/>
            </a:prstGeom>
            <a:solidFill>
              <a:srgbClr val="0026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lock Management</a:t>
              </a:r>
              <a:endParaRPr lang="en-IN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27" name="Straight Arrow Connector 26"/>
            <p:cNvCxnSpPr>
              <a:stCxn id="17" idx="3"/>
              <a:endCxn id="23" idx="0"/>
            </p:cNvCxnSpPr>
            <p:nvPr/>
          </p:nvCxnSpPr>
          <p:spPr>
            <a:xfrm>
              <a:off x="1596358" y="1280062"/>
              <a:ext cx="2096878" cy="51585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029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2" y="96838"/>
            <a:ext cx="8550829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NameNode: Single Point of Failure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21" name="object 4"/>
          <p:cNvSpPr/>
          <p:nvPr/>
        </p:nvSpPr>
        <p:spPr>
          <a:xfrm>
            <a:off x="3424428" y="1949195"/>
            <a:ext cx="1295400" cy="3154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2" name="object 5"/>
          <p:cNvSpPr/>
          <p:nvPr/>
        </p:nvSpPr>
        <p:spPr>
          <a:xfrm>
            <a:off x="3582161" y="2027047"/>
            <a:ext cx="1094740" cy="120650"/>
          </a:xfrm>
          <a:custGeom>
            <a:avLst/>
            <a:gdLst/>
            <a:ahLst/>
            <a:cxnLst/>
            <a:rect l="l" t="t" r="r" b="b"/>
            <a:pathLst>
              <a:path w="1094739" h="120650">
                <a:moveTo>
                  <a:pt x="102997" y="0"/>
                </a:moveTo>
                <a:lnTo>
                  <a:pt x="0" y="60070"/>
                </a:lnTo>
                <a:lnTo>
                  <a:pt x="102997" y="120141"/>
                </a:lnTo>
                <a:lnTo>
                  <a:pt x="110998" y="118109"/>
                </a:lnTo>
                <a:lnTo>
                  <a:pt x="114553" y="111886"/>
                </a:lnTo>
                <a:lnTo>
                  <a:pt x="118110" y="105790"/>
                </a:lnTo>
                <a:lnTo>
                  <a:pt x="116077" y="97789"/>
                </a:lnTo>
                <a:lnTo>
                  <a:pt x="109854" y="94233"/>
                </a:lnTo>
                <a:lnTo>
                  <a:pt x="73496" y="73025"/>
                </a:lnTo>
                <a:lnTo>
                  <a:pt x="25653" y="73025"/>
                </a:lnTo>
                <a:lnTo>
                  <a:pt x="25653" y="47116"/>
                </a:lnTo>
                <a:lnTo>
                  <a:pt x="73496" y="47116"/>
                </a:lnTo>
                <a:lnTo>
                  <a:pt x="109854" y="25907"/>
                </a:lnTo>
                <a:lnTo>
                  <a:pt x="116077" y="22351"/>
                </a:lnTo>
                <a:lnTo>
                  <a:pt x="118110" y="14350"/>
                </a:lnTo>
                <a:lnTo>
                  <a:pt x="114553" y="8254"/>
                </a:lnTo>
                <a:lnTo>
                  <a:pt x="110998" y="2031"/>
                </a:lnTo>
                <a:lnTo>
                  <a:pt x="102997" y="0"/>
                </a:lnTo>
                <a:close/>
              </a:path>
              <a:path w="1094739" h="120650">
                <a:moveTo>
                  <a:pt x="73496" y="47116"/>
                </a:moveTo>
                <a:lnTo>
                  <a:pt x="25653" y="47116"/>
                </a:lnTo>
                <a:lnTo>
                  <a:pt x="25653" y="73025"/>
                </a:lnTo>
                <a:lnTo>
                  <a:pt x="73496" y="73025"/>
                </a:lnTo>
                <a:lnTo>
                  <a:pt x="70448" y="71246"/>
                </a:lnTo>
                <a:lnTo>
                  <a:pt x="32130" y="71246"/>
                </a:lnTo>
                <a:lnTo>
                  <a:pt x="32130" y="48894"/>
                </a:lnTo>
                <a:lnTo>
                  <a:pt x="70448" y="48894"/>
                </a:lnTo>
                <a:lnTo>
                  <a:pt x="73496" y="47116"/>
                </a:lnTo>
                <a:close/>
              </a:path>
              <a:path w="1094739" h="120650">
                <a:moveTo>
                  <a:pt x="1094486" y="47116"/>
                </a:moveTo>
                <a:lnTo>
                  <a:pt x="73496" y="47116"/>
                </a:lnTo>
                <a:lnTo>
                  <a:pt x="51289" y="60070"/>
                </a:lnTo>
                <a:lnTo>
                  <a:pt x="73496" y="73025"/>
                </a:lnTo>
                <a:lnTo>
                  <a:pt x="1094486" y="73025"/>
                </a:lnTo>
                <a:lnTo>
                  <a:pt x="1094486" y="47116"/>
                </a:lnTo>
                <a:close/>
              </a:path>
              <a:path w="1094739" h="120650">
                <a:moveTo>
                  <a:pt x="32130" y="48894"/>
                </a:moveTo>
                <a:lnTo>
                  <a:pt x="32130" y="71246"/>
                </a:lnTo>
                <a:lnTo>
                  <a:pt x="51289" y="60070"/>
                </a:lnTo>
                <a:lnTo>
                  <a:pt x="32130" y="48894"/>
                </a:lnTo>
                <a:close/>
              </a:path>
              <a:path w="1094739" h="120650">
                <a:moveTo>
                  <a:pt x="51289" y="60070"/>
                </a:moveTo>
                <a:lnTo>
                  <a:pt x="32130" y="71246"/>
                </a:lnTo>
                <a:lnTo>
                  <a:pt x="70448" y="71246"/>
                </a:lnTo>
                <a:lnTo>
                  <a:pt x="51289" y="60070"/>
                </a:lnTo>
                <a:close/>
              </a:path>
              <a:path w="1094739" h="120650">
                <a:moveTo>
                  <a:pt x="70448" y="48894"/>
                </a:moveTo>
                <a:lnTo>
                  <a:pt x="32130" y="48894"/>
                </a:lnTo>
                <a:lnTo>
                  <a:pt x="51289" y="60070"/>
                </a:lnTo>
                <a:lnTo>
                  <a:pt x="70448" y="48894"/>
                </a:lnTo>
                <a:close/>
              </a:path>
            </a:pathLst>
          </a:custGeom>
          <a:solidFill>
            <a:srgbClr val="252525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3" name="object 6"/>
          <p:cNvSpPr/>
          <p:nvPr/>
        </p:nvSpPr>
        <p:spPr>
          <a:xfrm>
            <a:off x="4620767" y="2060448"/>
            <a:ext cx="464820" cy="12329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4" name="object 7"/>
          <p:cNvSpPr/>
          <p:nvPr/>
        </p:nvSpPr>
        <p:spPr>
          <a:xfrm>
            <a:off x="4676394" y="2087117"/>
            <a:ext cx="354330" cy="1130935"/>
          </a:xfrm>
          <a:custGeom>
            <a:avLst/>
            <a:gdLst/>
            <a:ahLst/>
            <a:cxnLst/>
            <a:rect l="l" t="t" r="r" b="b"/>
            <a:pathLst>
              <a:path w="354329" h="1130935">
                <a:moveTo>
                  <a:pt x="0" y="0"/>
                </a:moveTo>
                <a:lnTo>
                  <a:pt x="354329" y="1130681"/>
                </a:lnTo>
              </a:path>
            </a:pathLst>
          </a:custGeom>
          <a:ln w="25908">
            <a:solidFill>
              <a:srgbClr val="252525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5" name="object 51"/>
          <p:cNvSpPr/>
          <p:nvPr/>
        </p:nvSpPr>
        <p:spPr>
          <a:xfrm>
            <a:off x="5146547" y="3243072"/>
            <a:ext cx="1193291" cy="6720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6" name="object 52"/>
          <p:cNvSpPr/>
          <p:nvPr/>
        </p:nvSpPr>
        <p:spPr>
          <a:xfrm>
            <a:off x="4956047" y="3215639"/>
            <a:ext cx="1546859" cy="63246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7" name="object 53"/>
          <p:cNvSpPr txBox="1"/>
          <p:nvPr/>
        </p:nvSpPr>
        <p:spPr>
          <a:xfrm>
            <a:off x="5305494" y="3311975"/>
            <a:ext cx="237744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6830">
              <a:lnSpc>
                <a:spcPct val="100000"/>
              </a:lnSpc>
              <a:spcBef>
                <a:spcPts val="210"/>
              </a:spcBef>
            </a:pPr>
            <a:r>
              <a:rPr sz="1400" spc="-5" dirty="0" smtClean="0">
                <a:solidFill>
                  <a:srgbClr val="252525"/>
                </a:solidFill>
                <a:latin typeface="Tahoma"/>
                <a:cs typeface="Tahoma"/>
              </a:rPr>
              <a:t>Sec</a:t>
            </a:r>
            <a:r>
              <a:rPr sz="1400" dirty="0" smtClean="0">
                <a:solidFill>
                  <a:srgbClr val="252525"/>
                </a:solidFill>
                <a:latin typeface="Tahoma"/>
                <a:cs typeface="Tahoma"/>
              </a:rPr>
              <a:t>o</a:t>
            </a:r>
            <a:r>
              <a:rPr sz="1400" spc="-5" dirty="0" smtClean="0">
                <a:solidFill>
                  <a:srgbClr val="252525"/>
                </a:solidFill>
                <a:latin typeface="Tahoma"/>
                <a:cs typeface="Tahoma"/>
              </a:rPr>
              <a:t>n</a:t>
            </a:r>
            <a:r>
              <a:rPr sz="1400" dirty="0" smtClean="0">
                <a:solidFill>
                  <a:srgbClr val="252525"/>
                </a:solidFill>
                <a:latin typeface="Tahoma"/>
                <a:cs typeface="Tahoma"/>
              </a:rPr>
              <a:t>da</a:t>
            </a:r>
            <a:r>
              <a:rPr sz="1400" spc="-10" dirty="0" smtClean="0">
                <a:solidFill>
                  <a:srgbClr val="252525"/>
                </a:solidFill>
                <a:latin typeface="Tahoma"/>
                <a:cs typeface="Tahoma"/>
              </a:rPr>
              <a:t>r</a:t>
            </a:r>
            <a:r>
              <a:rPr sz="1400" dirty="0" smtClean="0">
                <a:solidFill>
                  <a:srgbClr val="252525"/>
                </a:solidFill>
                <a:latin typeface="Tahoma"/>
                <a:cs typeface="Tahoma"/>
              </a:rPr>
              <a:t>y</a:t>
            </a:r>
            <a:endParaRPr sz="14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252525"/>
                </a:solidFill>
                <a:latin typeface="Tahoma"/>
                <a:cs typeface="Tahoma"/>
              </a:rPr>
              <a:t>N</a:t>
            </a:r>
            <a:r>
              <a:rPr sz="1400" spc="-10" dirty="0">
                <a:solidFill>
                  <a:srgbClr val="252525"/>
                </a:solidFill>
                <a:latin typeface="Tahoma"/>
                <a:cs typeface="Tahoma"/>
              </a:rPr>
              <a:t>a</a:t>
            </a:r>
            <a:r>
              <a:rPr sz="1400" dirty="0">
                <a:solidFill>
                  <a:srgbClr val="252525"/>
                </a:solidFill>
                <a:latin typeface="Tahoma"/>
                <a:cs typeface="Tahoma"/>
              </a:rPr>
              <a:t>meNode</a:t>
            </a:r>
            <a:endParaRPr sz="1400" dirty="0">
              <a:latin typeface="Tahoma"/>
              <a:cs typeface="Tahoma"/>
            </a:endParaRPr>
          </a:p>
        </p:txBody>
      </p:sp>
      <p:sp>
        <p:nvSpPr>
          <p:cNvPr id="28" name="object 55"/>
          <p:cNvSpPr/>
          <p:nvPr/>
        </p:nvSpPr>
        <p:spPr>
          <a:xfrm>
            <a:off x="5091684" y="1647444"/>
            <a:ext cx="1392936" cy="5151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9" name="object 56"/>
          <p:cNvSpPr/>
          <p:nvPr/>
        </p:nvSpPr>
        <p:spPr>
          <a:xfrm>
            <a:off x="5205984" y="1702307"/>
            <a:ext cx="1164336" cy="45872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0" name="object 58"/>
          <p:cNvSpPr txBox="1"/>
          <p:nvPr/>
        </p:nvSpPr>
        <p:spPr>
          <a:xfrm>
            <a:off x="5343905" y="1778126"/>
            <a:ext cx="890269" cy="2216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FFFFFF"/>
                </a:solidFill>
                <a:latin typeface="Tahoma"/>
                <a:cs typeface="Tahoma"/>
              </a:rPr>
              <a:t>N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a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meNode</a:t>
            </a:r>
            <a:endParaRPr sz="1400" dirty="0">
              <a:latin typeface="Tahoma"/>
              <a:cs typeface="Tahoma"/>
            </a:endParaRPr>
          </a:p>
        </p:txBody>
      </p:sp>
      <p:sp>
        <p:nvSpPr>
          <p:cNvPr id="31" name="object 59"/>
          <p:cNvSpPr/>
          <p:nvPr/>
        </p:nvSpPr>
        <p:spPr>
          <a:xfrm>
            <a:off x="5338571" y="2078735"/>
            <a:ext cx="315467" cy="130302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2" name="object 61"/>
          <p:cNvSpPr/>
          <p:nvPr/>
        </p:nvSpPr>
        <p:spPr>
          <a:xfrm>
            <a:off x="5873496" y="1962911"/>
            <a:ext cx="315467" cy="130302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3" name="object 64"/>
          <p:cNvSpPr/>
          <p:nvPr/>
        </p:nvSpPr>
        <p:spPr>
          <a:xfrm>
            <a:off x="5090921" y="962405"/>
            <a:ext cx="1371600" cy="568960"/>
          </a:xfrm>
          <a:custGeom>
            <a:avLst/>
            <a:gdLst/>
            <a:ahLst/>
            <a:cxnLst/>
            <a:rect l="l" t="t" r="r" b="b"/>
            <a:pathLst>
              <a:path w="1371600" h="568960">
                <a:moveTo>
                  <a:pt x="0" y="568451"/>
                </a:moveTo>
                <a:lnTo>
                  <a:pt x="1371600" y="568451"/>
                </a:lnTo>
                <a:lnTo>
                  <a:pt x="1371600" y="0"/>
                </a:lnTo>
                <a:lnTo>
                  <a:pt x="0" y="0"/>
                </a:lnTo>
                <a:lnTo>
                  <a:pt x="0" y="568451"/>
                </a:lnTo>
                <a:close/>
              </a:path>
            </a:pathLst>
          </a:custGeom>
          <a:ln w="25908">
            <a:solidFill>
              <a:srgbClr val="5C5C5C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4" name="object 65"/>
          <p:cNvSpPr/>
          <p:nvPr/>
        </p:nvSpPr>
        <p:spPr>
          <a:xfrm>
            <a:off x="5292852" y="1039367"/>
            <a:ext cx="937260" cy="0"/>
          </a:xfrm>
          <a:custGeom>
            <a:avLst/>
            <a:gdLst/>
            <a:ahLst/>
            <a:cxnLst/>
            <a:rect l="l" t="t" r="r" b="b"/>
            <a:pathLst>
              <a:path w="937260">
                <a:moveTo>
                  <a:pt x="937006" y="0"/>
                </a:moveTo>
                <a:lnTo>
                  <a:pt x="0" y="0"/>
                </a:lnTo>
              </a:path>
            </a:pathLst>
          </a:custGeom>
          <a:ln w="9144">
            <a:solidFill>
              <a:srgbClr val="2424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5" name="object 66"/>
          <p:cNvSpPr/>
          <p:nvPr/>
        </p:nvSpPr>
        <p:spPr>
          <a:xfrm>
            <a:off x="5158740" y="1179575"/>
            <a:ext cx="1207770" cy="0"/>
          </a:xfrm>
          <a:custGeom>
            <a:avLst/>
            <a:gdLst/>
            <a:ahLst/>
            <a:cxnLst/>
            <a:rect l="l" t="t" r="r" b="b"/>
            <a:pathLst>
              <a:path w="1207770">
                <a:moveTo>
                  <a:pt x="1207389" y="0"/>
                </a:moveTo>
                <a:lnTo>
                  <a:pt x="0" y="0"/>
                </a:lnTo>
              </a:path>
            </a:pathLst>
          </a:custGeom>
          <a:ln w="9144">
            <a:solidFill>
              <a:srgbClr val="2424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6" name="object 67"/>
          <p:cNvSpPr/>
          <p:nvPr/>
        </p:nvSpPr>
        <p:spPr>
          <a:xfrm>
            <a:off x="5292852" y="1319783"/>
            <a:ext cx="937260" cy="0"/>
          </a:xfrm>
          <a:custGeom>
            <a:avLst/>
            <a:gdLst/>
            <a:ahLst/>
            <a:cxnLst/>
            <a:rect l="l" t="t" r="r" b="b"/>
            <a:pathLst>
              <a:path w="937260">
                <a:moveTo>
                  <a:pt x="937006" y="0"/>
                </a:moveTo>
                <a:lnTo>
                  <a:pt x="0" y="0"/>
                </a:lnTo>
              </a:path>
            </a:pathLst>
          </a:custGeom>
          <a:ln w="9144">
            <a:solidFill>
              <a:srgbClr val="2424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7" name="object 68"/>
          <p:cNvSpPr/>
          <p:nvPr/>
        </p:nvSpPr>
        <p:spPr>
          <a:xfrm>
            <a:off x="5158740" y="1459991"/>
            <a:ext cx="1207770" cy="0"/>
          </a:xfrm>
          <a:custGeom>
            <a:avLst/>
            <a:gdLst/>
            <a:ahLst/>
            <a:cxnLst/>
            <a:rect l="l" t="t" r="r" b="b"/>
            <a:pathLst>
              <a:path w="1207770">
                <a:moveTo>
                  <a:pt x="1207389" y="0"/>
                </a:moveTo>
                <a:lnTo>
                  <a:pt x="0" y="0"/>
                </a:lnTo>
              </a:path>
            </a:pathLst>
          </a:custGeom>
          <a:ln w="9144">
            <a:solidFill>
              <a:srgbClr val="2424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8" name="object 69"/>
          <p:cNvSpPr/>
          <p:nvPr/>
        </p:nvSpPr>
        <p:spPr>
          <a:xfrm>
            <a:off x="6635495" y="3674364"/>
            <a:ext cx="1036320" cy="79248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39" name="object 70"/>
          <p:cNvSpPr/>
          <p:nvPr/>
        </p:nvSpPr>
        <p:spPr>
          <a:xfrm>
            <a:off x="6682740" y="3701796"/>
            <a:ext cx="941831" cy="69805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40" name="object 71"/>
          <p:cNvSpPr/>
          <p:nvPr/>
        </p:nvSpPr>
        <p:spPr>
          <a:xfrm>
            <a:off x="6682740" y="3820795"/>
            <a:ext cx="810895" cy="579120"/>
          </a:xfrm>
          <a:custGeom>
            <a:avLst/>
            <a:gdLst/>
            <a:ahLst/>
            <a:cxnLst/>
            <a:rect l="l" t="t" r="r" b="b"/>
            <a:pathLst>
              <a:path w="810895" h="579120">
                <a:moveTo>
                  <a:pt x="0" y="0"/>
                </a:moveTo>
                <a:lnTo>
                  <a:pt x="810767" y="0"/>
                </a:lnTo>
                <a:lnTo>
                  <a:pt x="810767" y="464642"/>
                </a:lnTo>
                <a:lnTo>
                  <a:pt x="752899" y="465927"/>
                </a:lnTo>
                <a:lnTo>
                  <a:pt x="700503" y="469558"/>
                </a:lnTo>
                <a:lnTo>
                  <a:pt x="652972" y="475200"/>
                </a:lnTo>
                <a:lnTo>
                  <a:pt x="609697" y="482518"/>
                </a:lnTo>
                <a:lnTo>
                  <a:pt x="570071" y="491177"/>
                </a:lnTo>
                <a:lnTo>
                  <a:pt x="499331" y="511177"/>
                </a:lnTo>
                <a:lnTo>
                  <a:pt x="435889" y="532517"/>
                </a:lnTo>
                <a:lnTo>
                  <a:pt x="405383" y="542851"/>
                </a:lnTo>
                <a:lnTo>
                  <a:pt x="343765" y="561175"/>
                </a:lnTo>
                <a:lnTo>
                  <a:pt x="277282" y="574135"/>
                </a:lnTo>
                <a:lnTo>
                  <a:pt x="201070" y="579051"/>
                </a:lnTo>
                <a:lnTo>
                  <a:pt x="157795" y="577655"/>
                </a:lnTo>
                <a:lnTo>
                  <a:pt x="110264" y="573242"/>
                </a:lnTo>
                <a:lnTo>
                  <a:pt x="57868" y="565476"/>
                </a:lnTo>
                <a:lnTo>
                  <a:pt x="0" y="554024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974707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41" name="object 72"/>
          <p:cNvSpPr/>
          <p:nvPr/>
        </p:nvSpPr>
        <p:spPr>
          <a:xfrm>
            <a:off x="6749542" y="3760596"/>
            <a:ext cx="805815" cy="470534"/>
          </a:xfrm>
          <a:custGeom>
            <a:avLst/>
            <a:gdLst/>
            <a:ahLst/>
            <a:cxnLst/>
            <a:rect l="l" t="t" r="r" b="b"/>
            <a:pathLst>
              <a:path w="805815" h="470535">
                <a:moveTo>
                  <a:pt x="0" y="60197"/>
                </a:moveTo>
                <a:lnTo>
                  <a:pt x="0" y="0"/>
                </a:lnTo>
                <a:lnTo>
                  <a:pt x="805306" y="0"/>
                </a:lnTo>
                <a:lnTo>
                  <a:pt x="805306" y="467525"/>
                </a:lnTo>
                <a:lnTo>
                  <a:pt x="786579" y="467883"/>
                </a:lnTo>
                <a:lnTo>
                  <a:pt x="769455" y="468728"/>
                </a:lnTo>
                <a:lnTo>
                  <a:pt x="755572" y="469717"/>
                </a:lnTo>
                <a:lnTo>
                  <a:pt x="746565" y="470506"/>
                </a:lnTo>
              </a:path>
            </a:pathLst>
          </a:custGeom>
          <a:ln w="9144">
            <a:solidFill>
              <a:srgbClr val="974707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42" name="object 75"/>
          <p:cNvSpPr/>
          <p:nvPr/>
        </p:nvSpPr>
        <p:spPr>
          <a:xfrm>
            <a:off x="5496305" y="3848861"/>
            <a:ext cx="0" cy="344805"/>
          </a:xfrm>
          <a:custGeom>
            <a:avLst/>
            <a:gdLst/>
            <a:ahLst/>
            <a:cxnLst/>
            <a:rect l="l" t="t" r="r" b="b"/>
            <a:pathLst>
              <a:path h="344804">
                <a:moveTo>
                  <a:pt x="0" y="0"/>
                </a:moveTo>
                <a:lnTo>
                  <a:pt x="0" y="344754"/>
                </a:lnTo>
              </a:path>
            </a:pathLst>
          </a:custGeom>
          <a:ln w="25908">
            <a:solidFill>
              <a:srgbClr val="252525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43" name="object 76"/>
          <p:cNvSpPr/>
          <p:nvPr/>
        </p:nvSpPr>
        <p:spPr>
          <a:xfrm>
            <a:off x="5452871" y="4055364"/>
            <a:ext cx="1388364" cy="31546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grpSp>
        <p:nvGrpSpPr>
          <p:cNvPr id="44" name="Group 43"/>
          <p:cNvGrpSpPr/>
          <p:nvPr/>
        </p:nvGrpSpPr>
        <p:grpSpPr>
          <a:xfrm>
            <a:off x="711376" y="962405"/>
            <a:ext cx="7365824" cy="3306318"/>
            <a:chOff x="711376" y="962405"/>
            <a:chExt cx="7365824" cy="3306318"/>
          </a:xfrm>
        </p:grpSpPr>
        <p:sp>
          <p:nvSpPr>
            <p:cNvPr id="45" name="object 3"/>
            <p:cNvSpPr txBox="1"/>
            <p:nvPr/>
          </p:nvSpPr>
          <p:spPr>
            <a:xfrm>
              <a:off x="711376" y="1999741"/>
              <a:ext cx="4227948" cy="150041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299085" indent="-286385">
                <a:lnSpc>
                  <a:spcPct val="100000"/>
                </a:lnSpc>
                <a:buClr>
                  <a:srgbClr val="006FC0"/>
                </a:buClr>
                <a:buFont typeface="Wingdings"/>
                <a:buChar char=""/>
                <a:tabLst>
                  <a:tab pos="299720" algn="l"/>
                </a:tabLst>
              </a:pPr>
              <a:r>
                <a:rPr sz="1400" b="1" dirty="0">
                  <a:solidFill>
                    <a:srgbClr val="006FC0"/>
                  </a:solidFill>
                  <a:latin typeface="Tahoma"/>
                  <a:cs typeface="Tahoma"/>
                </a:rPr>
                <a:t>S</a:t>
              </a:r>
              <a:r>
                <a:rPr sz="1400" b="1" spc="-5" dirty="0">
                  <a:solidFill>
                    <a:srgbClr val="006FC0"/>
                  </a:solidFill>
                  <a:latin typeface="Tahoma"/>
                  <a:cs typeface="Tahoma"/>
                </a:rPr>
                <a:t>ec</a:t>
              </a:r>
              <a:r>
                <a:rPr sz="1400" b="1" spc="-10" dirty="0">
                  <a:solidFill>
                    <a:srgbClr val="006FC0"/>
                  </a:solidFill>
                  <a:latin typeface="Tahoma"/>
                  <a:cs typeface="Tahoma"/>
                </a:rPr>
                <a:t>ond</a:t>
              </a:r>
              <a:r>
                <a:rPr sz="1400" b="1" spc="-5" dirty="0">
                  <a:solidFill>
                    <a:srgbClr val="006FC0"/>
                  </a:solidFill>
                  <a:latin typeface="Tahoma"/>
                  <a:cs typeface="Tahoma"/>
                </a:rPr>
                <a:t>ar</a:t>
              </a:r>
              <a:r>
                <a:rPr sz="1400" b="1" dirty="0">
                  <a:solidFill>
                    <a:srgbClr val="006FC0"/>
                  </a:solidFill>
                  <a:latin typeface="Tahoma"/>
                  <a:cs typeface="Tahoma"/>
                </a:rPr>
                <a:t>y</a:t>
              </a:r>
              <a:r>
                <a:rPr sz="1400" b="1" spc="10" dirty="0">
                  <a:solidFill>
                    <a:srgbClr val="006FC0"/>
                  </a:solidFill>
                  <a:latin typeface="Tahoma"/>
                  <a:cs typeface="Tahoma"/>
                </a:rPr>
                <a:t> </a:t>
              </a:r>
              <a:r>
                <a:rPr sz="1400" b="1" spc="-5" dirty="0">
                  <a:solidFill>
                    <a:srgbClr val="006FC0"/>
                  </a:solidFill>
                  <a:latin typeface="Tahoma"/>
                  <a:cs typeface="Tahoma"/>
                </a:rPr>
                <a:t>NameNod</a:t>
              </a:r>
              <a:r>
                <a:rPr sz="1400" b="1" dirty="0">
                  <a:solidFill>
                    <a:srgbClr val="006FC0"/>
                  </a:solidFill>
                  <a:latin typeface="Tahoma"/>
                  <a:cs typeface="Tahoma"/>
                </a:rPr>
                <a:t>e</a:t>
              </a:r>
              <a:r>
                <a:rPr sz="1400" b="1" spc="-10" dirty="0">
                  <a:solidFill>
                    <a:srgbClr val="006FC0"/>
                  </a:solidFill>
                  <a:latin typeface="Tahoma"/>
                  <a:cs typeface="Tahoma"/>
                </a:rPr>
                <a:t>:</a:t>
              </a:r>
              <a:endParaRPr sz="1400" b="1" dirty="0">
                <a:latin typeface="Tahoma"/>
                <a:cs typeface="Tahoma"/>
              </a:endParaRPr>
            </a:p>
            <a:p>
              <a:pPr marL="464820" lvl="1" indent="-187325">
                <a:lnSpc>
                  <a:spcPct val="100000"/>
                </a:lnSpc>
                <a:spcBef>
                  <a:spcPts val="894"/>
                </a:spcBef>
                <a:buClr>
                  <a:srgbClr val="252525"/>
                </a:buClr>
                <a:buFont typeface="Wingdings"/>
                <a:buChar char=""/>
                <a:tabLst>
                  <a:tab pos="465455" algn="l"/>
                </a:tabLst>
              </a:pPr>
              <a:r>
                <a:rPr lang="en-US" sz="1400" b="1" spc="-15" dirty="0" smtClean="0">
                  <a:solidFill>
                    <a:srgbClr val="FF0000"/>
                  </a:solidFill>
                  <a:latin typeface="Tahoma"/>
                  <a:cs typeface="Tahoma"/>
                </a:rPr>
                <a:t>"</a:t>
              </a:r>
              <a:r>
                <a:rPr sz="1400" b="1" spc="-15" dirty="0" smtClean="0">
                  <a:solidFill>
                    <a:srgbClr val="FF0000"/>
                  </a:solidFill>
                  <a:latin typeface="Tahoma"/>
                  <a:cs typeface="Tahoma"/>
                </a:rPr>
                <a:t>No</a:t>
              </a:r>
              <a:r>
                <a:rPr sz="1400" b="1" spc="-5" dirty="0" smtClean="0">
                  <a:solidFill>
                    <a:srgbClr val="FF0000"/>
                  </a:solidFill>
                  <a:latin typeface="Tahoma"/>
                  <a:cs typeface="Tahoma"/>
                </a:rPr>
                <a:t>t</a:t>
              </a:r>
              <a:r>
                <a:rPr sz="1400" b="1" dirty="0" smtClean="0">
                  <a:solidFill>
                    <a:srgbClr val="FF0000"/>
                  </a:solidFill>
                  <a:latin typeface="Tahoma"/>
                  <a:cs typeface="Tahoma"/>
                </a:rPr>
                <a:t> </a:t>
              </a:r>
              <a:r>
                <a:rPr sz="1400" b="1" spc="-10" dirty="0">
                  <a:solidFill>
                    <a:srgbClr val="FF0000"/>
                  </a:solidFill>
                  <a:latin typeface="Tahoma"/>
                  <a:cs typeface="Tahoma"/>
                </a:rPr>
                <a:t>a</a:t>
              </a:r>
              <a:r>
                <a:rPr sz="1400" b="1" spc="15" dirty="0">
                  <a:solidFill>
                    <a:srgbClr val="FF0000"/>
                  </a:solidFill>
                  <a:latin typeface="Tahoma"/>
                  <a:cs typeface="Tahoma"/>
                </a:rPr>
                <a:t> </a:t>
              </a:r>
              <a:r>
                <a:rPr sz="1400" b="1" spc="-10" dirty="0">
                  <a:solidFill>
                    <a:srgbClr val="FF0000"/>
                  </a:solidFill>
                  <a:latin typeface="Tahoma"/>
                  <a:cs typeface="Tahoma"/>
                </a:rPr>
                <a:t>hot</a:t>
              </a:r>
              <a:r>
                <a:rPr sz="1400" b="1" spc="-5" dirty="0">
                  <a:solidFill>
                    <a:srgbClr val="FF0000"/>
                  </a:solidFill>
                  <a:latin typeface="Tahoma"/>
                  <a:cs typeface="Tahoma"/>
                </a:rPr>
                <a:t> </a:t>
              </a:r>
              <a:r>
                <a:rPr sz="1400" b="1" spc="-15" dirty="0" smtClean="0">
                  <a:solidFill>
                    <a:srgbClr val="FF0000"/>
                  </a:solidFill>
                  <a:latin typeface="Tahoma"/>
                  <a:cs typeface="Tahoma"/>
                </a:rPr>
                <a:t>stand</a:t>
              </a:r>
              <a:r>
                <a:rPr sz="1400" b="1" spc="-5" dirty="0" smtClean="0">
                  <a:solidFill>
                    <a:srgbClr val="FF0000"/>
                  </a:solidFill>
                  <a:latin typeface="Tahoma"/>
                  <a:cs typeface="Tahoma"/>
                </a:rPr>
                <a:t>b</a:t>
              </a:r>
              <a:r>
                <a:rPr sz="1400" b="1" spc="-10" dirty="0" smtClean="0">
                  <a:solidFill>
                    <a:srgbClr val="FF0000"/>
                  </a:solidFill>
                  <a:latin typeface="Tahoma"/>
                  <a:cs typeface="Tahoma"/>
                </a:rPr>
                <a:t>y</a:t>
              </a:r>
              <a:r>
                <a:rPr lang="en-US" sz="1400" b="1" spc="-10" dirty="0" smtClean="0">
                  <a:solidFill>
                    <a:srgbClr val="FF0000"/>
                  </a:solidFill>
                  <a:latin typeface="Tahoma"/>
                  <a:cs typeface="Tahoma"/>
                </a:rPr>
                <a:t>"</a:t>
              </a:r>
              <a:r>
                <a:rPr sz="1400" b="1" dirty="0" smtClean="0">
                  <a:solidFill>
                    <a:srgbClr val="FF0000"/>
                  </a:solidFill>
                  <a:latin typeface="Tahoma"/>
                  <a:cs typeface="Tahoma"/>
                </a:rPr>
                <a:t> </a:t>
              </a:r>
              <a:r>
                <a:rPr sz="1400" spc="-25" dirty="0">
                  <a:solidFill>
                    <a:srgbClr val="252525"/>
                  </a:solidFill>
                  <a:latin typeface="Tahoma"/>
                  <a:cs typeface="Tahoma"/>
                </a:rPr>
                <a:t>f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or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th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e</a:t>
              </a:r>
              <a:r>
                <a:rPr sz="1400" spc="3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Na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m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N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o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de</a:t>
              </a:r>
              <a:endParaRPr sz="1400" dirty="0">
                <a:latin typeface="Tahoma"/>
                <a:cs typeface="Tahoma"/>
              </a:endParaRPr>
            </a:p>
            <a:p>
              <a:pPr marL="464820" lvl="1" indent="-187325">
                <a:lnSpc>
                  <a:spcPct val="100000"/>
                </a:lnSpc>
                <a:spcBef>
                  <a:spcPts val="780"/>
                </a:spcBef>
                <a:buClr>
                  <a:srgbClr val="252525"/>
                </a:buClr>
                <a:buFont typeface="Wingdings"/>
                <a:buChar char=""/>
                <a:tabLst>
                  <a:tab pos="465455" algn="l"/>
                </a:tabLst>
              </a:pP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Con</a:t>
              </a:r>
              <a:r>
                <a:rPr sz="1400" spc="-20" dirty="0">
                  <a:solidFill>
                    <a:srgbClr val="252525"/>
                  </a:solidFill>
                  <a:latin typeface="Tahoma"/>
                  <a:cs typeface="Tahoma"/>
                </a:rPr>
                <a:t>n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ct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s</a:t>
              </a:r>
              <a:r>
                <a:rPr sz="1400" spc="10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to</a:t>
              </a:r>
              <a:r>
                <a:rPr sz="1400" spc="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NameNo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d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e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</a:t>
              </a:r>
              <a:r>
                <a:rPr sz="1400" spc="-20" dirty="0">
                  <a:solidFill>
                    <a:srgbClr val="252525"/>
                  </a:solidFill>
                  <a:latin typeface="Tahoma"/>
                  <a:cs typeface="Tahoma"/>
                </a:rPr>
                <a:t>v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r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y</a:t>
              </a:r>
              <a:r>
                <a:rPr sz="1400" spc="1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h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our*</a:t>
              </a:r>
              <a:endParaRPr sz="1400" dirty="0">
                <a:latin typeface="Tahoma"/>
                <a:cs typeface="Tahoma"/>
              </a:endParaRPr>
            </a:p>
            <a:p>
              <a:pPr marL="464820" lvl="1" indent="-187325">
                <a:lnSpc>
                  <a:spcPct val="100000"/>
                </a:lnSpc>
                <a:spcBef>
                  <a:spcPts val="780"/>
                </a:spcBef>
                <a:buClr>
                  <a:srgbClr val="252525"/>
                </a:buClr>
                <a:buFont typeface="Wingdings"/>
                <a:buChar char=""/>
                <a:tabLst>
                  <a:tab pos="465455" algn="l"/>
                </a:tabLst>
              </a:pP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H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ou</a:t>
              </a:r>
              <a:r>
                <a:rPr sz="1400" spc="-20" dirty="0">
                  <a:solidFill>
                    <a:srgbClr val="252525"/>
                  </a:solidFill>
                  <a:latin typeface="Tahoma"/>
                  <a:cs typeface="Tahoma"/>
                </a:rPr>
                <a:t>s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</a:t>
              </a:r>
              <a:r>
                <a:rPr sz="1400" spc="-20" dirty="0">
                  <a:solidFill>
                    <a:srgbClr val="252525"/>
                  </a:solidFill>
                  <a:latin typeface="Tahoma"/>
                  <a:cs typeface="Tahoma"/>
                </a:rPr>
                <a:t>k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ep</a:t>
              </a:r>
              <a:r>
                <a:rPr sz="1400" dirty="0">
                  <a:solidFill>
                    <a:srgbClr val="252525"/>
                  </a:solidFill>
                  <a:latin typeface="Tahoma"/>
                  <a:cs typeface="Tahoma"/>
                </a:rPr>
                <a:t>i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ng, b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a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c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kup</a:t>
              </a:r>
              <a:r>
                <a:rPr sz="1400" spc="10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of</a:t>
              </a:r>
              <a:r>
                <a:rPr sz="1400" spc="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NemeN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o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de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me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ta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d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ata</a:t>
              </a:r>
              <a:endParaRPr sz="1400" dirty="0">
                <a:latin typeface="Tahoma"/>
                <a:cs typeface="Tahoma"/>
              </a:endParaRPr>
            </a:p>
            <a:p>
              <a:pPr marL="464820" lvl="1" indent="-187325">
                <a:lnSpc>
                  <a:spcPct val="100000"/>
                </a:lnSpc>
                <a:spcBef>
                  <a:spcPts val="780"/>
                </a:spcBef>
                <a:buClr>
                  <a:srgbClr val="252525"/>
                </a:buClr>
                <a:buFont typeface="Wingdings"/>
                <a:buChar char=""/>
                <a:tabLst>
                  <a:tab pos="465455" algn="l"/>
                </a:tabLst>
              </a:pP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S</a:t>
              </a:r>
              <a:r>
                <a:rPr sz="1400" spc="-25" dirty="0">
                  <a:solidFill>
                    <a:srgbClr val="252525"/>
                  </a:solidFill>
                  <a:latin typeface="Tahoma"/>
                  <a:cs typeface="Tahoma"/>
                </a:rPr>
                <a:t>a</a:t>
              </a:r>
              <a:r>
                <a:rPr sz="1400" spc="-20" dirty="0">
                  <a:solidFill>
                    <a:srgbClr val="252525"/>
                  </a:solidFill>
                  <a:latin typeface="Tahoma"/>
                  <a:cs typeface="Tahoma"/>
                </a:rPr>
                <a:t>v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d</a:t>
              </a:r>
              <a:r>
                <a:rPr sz="1400" spc="1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me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ta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d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ata</a:t>
              </a:r>
              <a:r>
                <a:rPr sz="1400" spc="2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c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a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n</a:t>
              </a:r>
              <a:r>
                <a:rPr sz="1400" spc="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bui</a:t>
              </a:r>
              <a:r>
                <a:rPr sz="1400" dirty="0">
                  <a:solidFill>
                    <a:srgbClr val="252525"/>
                  </a:solidFill>
                  <a:latin typeface="Tahoma"/>
                  <a:cs typeface="Tahoma"/>
                </a:rPr>
                <a:t>l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d</a:t>
              </a:r>
              <a:r>
                <a:rPr sz="1400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a</a:t>
              </a:r>
              <a:r>
                <a:rPr sz="1400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25" dirty="0">
                  <a:solidFill>
                    <a:srgbClr val="252525"/>
                  </a:solidFill>
                  <a:latin typeface="Tahoma"/>
                  <a:cs typeface="Tahoma"/>
                </a:rPr>
                <a:t>f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a</a:t>
              </a:r>
              <a:r>
                <a:rPr sz="1400" dirty="0">
                  <a:solidFill>
                    <a:srgbClr val="252525"/>
                  </a:solidFill>
                  <a:latin typeface="Tahoma"/>
                  <a:cs typeface="Tahoma"/>
                </a:rPr>
                <a:t>i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led</a:t>
              </a:r>
              <a:r>
                <a:rPr sz="1400" spc="35" dirty="0">
                  <a:solidFill>
                    <a:srgbClr val="252525"/>
                  </a:solidFill>
                  <a:latin typeface="Tahoma"/>
                  <a:cs typeface="Tahoma"/>
                </a:rPr>
                <a:t> 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Na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m</a:t>
              </a:r>
              <a:r>
                <a:rPr sz="1400" spc="-15" dirty="0">
                  <a:solidFill>
                    <a:srgbClr val="252525"/>
                  </a:solidFill>
                  <a:latin typeface="Tahoma"/>
                  <a:cs typeface="Tahoma"/>
                </a:rPr>
                <a:t>eN</a:t>
              </a:r>
              <a:r>
                <a:rPr sz="1400" spc="-5" dirty="0">
                  <a:solidFill>
                    <a:srgbClr val="252525"/>
                  </a:solidFill>
                  <a:latin typeface="Tahoma"/>
                  <a:cs typeface="Tahoma"/>
                </a:rPr>
                <a:t>o</a:t>
              </a:r>
              <a:r>
                <a:rPr sz="1400" spc="-10" dirty="0">
                  <a:solidFill>
                    <a:srgbClr val="252525"/>
                  </a:solidFill>
                  <a:latin typeface="Tahoma"/>
                  <a:cs typeface="Tahoma"/>
                </a:rPr>
                <a:t>de</a:t>
              </a:r>
              <a:endParaRPr sz="1400" dirty="0">
                <a:latin typeface="Tahoma"/>
                <a:cs typeface="Tahoma"/>
              </a:endParaRPr>
            </a:p>
          </p:txBody>
        </p:sp>
        <p:sp>
          <p:nvSpPr>
            <p:cNvPr id="46" name="object 50"/>
            <p:cNvSpPr/>
            <p:nvPr/>
          </p:nvSpPr>
          <p:spPr>
            <a:xfrm>
              <a:off x="4913376" y="3192779"/>
              <a:ext cx="1632203" cy="717804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7" name="object 57"/>
            <p:cNvSpPr/>
            <p:nvPr/>
          </p:nvSpPr>
          <p:spPr>
            <a:xfrm>
              <a:off x="5134355" y="1670304"/>
              <a:ext cx="1307592" cy="429768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8" name="object 60"/>
            <p:cNvSpPr/>
            <p:nvPr/>
          </p:nvSpPr>
          <p:spPr>
            <a:xfrm>
              <a:off x="5436234" y="2100833"/>
              <a:ext cx="120650" cy="1102360"/>
            </a:xfrm>
            <a:custGeom>
              <a:avLst/>
              <a:gdLst/>
              <a:ahLst/>
              <a:cxnLst/>
              <a:rect l="l" t="t" r="r" b="b"/>
              <a:pathLst>
                <a:path w="120650" h="1102360">
                  <a:moveTo>
                    <a:pt x="14350" y="983996"/>
                  </a:moveTo>
                  <a:lnTo>
                    <a:pt x="8254" y="987679"/>
                  </a:lnTo>
                  <a:lnTo>
                    <a:pt x="2031" y="991235"/>
                  </a:lnTo>
                  <a:lnTo>
                    <a:pt x="0" y="999109"/>
                  </a:lnTo>
                  <a:lnTo>
                    <a:pt x="3555" y="1005332"/>
                  </a:lnTo>
                  <a:lnTo>
                    <a:pt x="60070" y="1102233"/>
                  </a:lnTo>
                  <a:lnTo>
                    <a:pt x="75033" y="1076579"/>
                  </a:lnTo>
                  <a:lnTo>
                    <a:pt x="47116" y="1076579"/>
                  </a:lnTo>
                  <a:lnTo>
                    <a:pt x="47116" y="1028609"/>
                  </a:lnTo>
                  <a:lnTo>
                    <a:pt x="22351" y="986155"/>
                  </a:lnTo>
                  <a:lnTo>
                    <a:pt x="14350" y="983996"/>
                  </a:lnTo>
                  <a:close/>
                </a:path>
                <a:path w="120650" h="1102360">
                  <a:moveTo>
                    <a:pt x="47116" y="1028609"/>
                  </a:moveTo>
                  <a:lnTo>
                    <a:pt x="47116" y="1076579"/>
                  </a:lnTo>
                  <a:lnTo>
                    <a:pt x="73025" y="1076579"/>
                  </a:lnTo>
                  <a:lnTo>
                    <a:pt x="73025" y="1069975"/>
                  </a:lnTo>
                  <a:lnTo>
                    <a:pt x="48894" y="1069975"/>
                  </a:lnTo>
                  <a:lnTo>
                    <a:pt x="60070" y="1050816"/>
                  </a:lnTo>
                  <a:lnTo>
                    <a:pt x="47116" y="1028609"/>
                  </a:lnTo>
                  <a:close/>
                </a:path>
                <a:path w="120650" h="1102360">
                  <a:moveTo>
                    <a:pt x="105790" y="983996"/>
                  </a:moveTo>
                  <a:lnTo>
                    <a:pt x="97789" y="986155"/>
                  </a:lnTo>
                  <a:lnTo>
                    <a:pt x="73025" y="1028609"/>
                  </a:lnTo>
                  <a:lnTo>
                    <a:pt x="73025" y="1076579"/>
                  </a:lnTo>
                  <a:lnTo>
                    <a:pt x="75033" y="1076579"/>
                  </a:lnTo>
                  <a:lnTo>
                    <a:pt x="116586" y="1005332"/>
                  </a:lnTo>
                  <a:lnTo>
                    <a:pt x="120141" y="999109"/>
                  </a:lnTo>
                  <a:lnTo>
                    <a:pt x="118110" y="991235"/>
                  </a:lnTo>
                  <a:lnTo>
                    <a:pt x="111887" y="987679"/>
                  </a:lnTo>
                  <a:lnTo>
                    <a:pt x="105790" y="983996"/>
                  </a:lnTo>
                  <a:close/>
                </a:path>
                <a:path w="120650" h="1102360">
                  <a:moveTo>
                    <a:pt x="60070" y="1050816"/>
                  </a:moveTo>
                  <a:lnTo>
                    <a:pt x="48894" y="1069975"/>
                  </a:lnTo>
                  <a:lnTo>
                    <a:pt x="71247" y="1069975"/>
                  </a:lnTo>
                  <a:lnTo>
                    <a:pt x="60070" y="1050816"/>
                  </a:lnTo>
                  <a:close/>
                </a:path>
                <a:path w="120650" h="1102360">
                  <a:moveTo>
                    <a:pt x="73025" y="1028609"/>
                  </a:moveTo>
                  <a:lnTo>
                    <a:pt x="60070" y="1050816"/>
                  </a:lnTo>
                  <a:lnTo>
                    <a:pt x="71247" y="1069975"/>
                  </a:lnTo>
                  <a:lnTo>
                    <a:pt x="73025" y="1069975"/>
                  </a:lnTo>
                  <a:lnTo>
                    <a:pt x="73025" y="1028609"/>
                  </a:lnTo>
                  <a:close/>
                </a:path>
                <a:path w="120650" h="1102360">
                  <a:moveTo>
                    <a:pt x="73025" y="0"/>
                  </a:moveTo>
                  <a:lnTo>
                    <a:pt x="47116" y="0"/>
                  </a:lnTo>
                  <a:lnTo>
                    <a:pt x="47116" y="1028609"/>
                  </a:lnTo>
                  <a:lnTo>
                    <a:pt x="60070" y="1050816"/>
                  </a:lnTo>
                  <a:lnTo>
                    <a:pt x="73025" y="1028609"/>
                  </a:lnTo>
                  <a:lnTo>
                    <a:pt x="73025" y="0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9" name="object 62"/>
            <p:cNvSpPr/>
            <p:nvPr/>
          </p:nvSpPr>
          <p:spPr>
            <a:xfrm>
              <a:off x="5971159" y="2100833"/>
              <a:ext cx="120650" cy="1102360"/>
            </a:xfrm>
            <a:custGeom>
              <a:avLst/>
              <a:gdLst/>
              <a:ahLst/>
              <a:cxnLst/>
              <a:rect l="l" t="t" r="r" b="b"/>
              <a:pathLst>
                <a:path w="120650" h="1102360">
                  <a:moveTo>
                    <a:pt x="60070" y="51289"/>
                  </a:moveTo>
                  <a:lnTo>
                    <a:pt x="47116" y="73496"/>
                  </a:lnTo>
                  <a:lnTo>
                    <a:pt x="47116" y="1102233"/>
                  </a:lnTo>
                  <a:lnTo>
                    <a:pt x="73025" y="1102233"/>
                  </a:lnTo>
                  <a:lnTo>
                    <a:pt x="73025" y="73496"/>
                  </a:lnTo>
                  <a:lnTo>
                    <a:pt x="60070" y="51289"/>
                  </a:lnTo>
                  <a:close/>
                </a:path>
                <a:path w="120650" h="1102360">
                  <a:moveTo>
                    <a:pt x="60070" y="0"/>
                  </a:moveTo>
                  <a:lnTo>
                    <a:pt x="0" y="102997"/>
                  </a:lnTo>
                  <a:lnTo>
                    <a:pt x="2031" y="110998"/>
                  </a:lnTo>
                  <a:lnTo>
                    <a:pt x="8254" y="114554"/>
                  </a:lnTo>
                  <a:lnTo>
                    <a:pt x="14350" y="118110"/>
                  </a:lnTo>
                  <a:lnTo>
                    <a:pt x="22351" y="116078"/>
                  </a:lnTo>
                  <a:lnTo>
                    <a:pt x="25907" y="109855"/>
                  </a:lnTo>
                  <a:lnTo>
                    <a:pt x="47116" y="73496"/>
                  </a:lnTo>
                  <a:lnTo>
                    <a:pt x="47116" y="25654"/>
                  </a:lnTo>
                  <a:lnTo>
                    <a:pt x="75033" y="25654"/>
                  </a:lnTo>
                  <a:lnTo>
                    <a:pt x="60070" y="0"/>
                  </a:lnTo>
                  <a:close/>
                </a:path>
                <a:path w="120650" h="1102360">
                  <a:moveTo>
                    <a:pt x="75033" y="25654"/>
                  </a:moveTo>
                  <a:lnTo>
                    <a:pt x="73025" y="25654"/>
                  </a:lnTo>
                  <a:lnTo>
                    <a:pt x="73025" y="73496"/>
                  </a:lnTo>
                  <a:lnTo>
                    <a:pt x="94233" y="109855"/>
                  </a:lnTo>
                  <a:lnTo>
                    <a:pt x="97789" y="116078"/>
                  </a:lnTo>
                  <a:lnTo>
                    <a:pt x="105790" y="118110"/>
                  </a:lnTo>
                  <a:lnTo>
                    <a:pt x="111887" y="114554"/>
                  </a:lnTo>
                  <a:lnTo>
                    <a:pt x="118110" y="110998"/>
                  </a:lnTo>
                  <a:lnTo>
                    <a:pt x="120141" y="102997"/>
                  </a:lnTo>
                  <a:lnTo>
                    <a:pt x="75033" y="25654"/>
                  </a:lnTo>
                  <a:close/>
                </a:path>
                <a:path w="120650" h="1102360">
                  <a:moveTo>
                    <a:pt x="73025" y="25654"/>
                  </a:moveTo>
                  <a:lnTo>
                    <a:pt x="47116" y="25654"/>
                  </a:lnTo>
                  <a:lnTo>
                    <a:pt x="47116" y="73496"/>
                  </a:lnTo>
                  <a:lnTo>
                    <a:pt x="60070" y="51289"/>
                  </a:lnTo>
                  <a:lnTo>
                    <a:pt x="48894" y="32131"/>
                  </a:lnTo>
                  <a:lnTo>
                    <a:pt x="73025" y="32131"/>
                  </a:lnTo>
                  <a:lnTo>
                    <a:pt x="73025" y="25654"/>
                  </a:lnTo>
                  <a:close/>
                </a:path>
                <a:path w="120650" h="1102360">
                  <a:moveTo>
                    <a:pt x="73025" y="32131"/>
                  </a:moveTo>
                  <a:lnTo>
                    <a:pt x="71246" y="32131"/>
                  </a:lnTo>
                  <a:lnTo>
                    <a:pt x="60070" y="51289"/>
                  </a:lnTo>
                  <a:lnTo>
                    <a:pt x="73025" y="73496"/>
                  </a:lnTo>
                  <a:lnTo>
                    <a:pt x="73025" y="32131"/>
                  </a:lnTo>
                  <a:close/>
                </a:path>
                <a:path w="120650" h="1102360">
                  <a:moveTo>
                    <a:pt x="71246" y="32131"/>
                  </a:moveTo>
                  <a:lnTo>
                    <a:pt x="48894" y="32131"/>
                  </a:lnTo>
                  <a:lnTo>
                    <a:pt x="60070" y="51289"/>
                  </a:lnTo>
                  <a:lnTo>
                    <a:pt x="71246" y="32131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50" name="object 63"/>
            <p:cNvSpPr/>
            <p:nvPr/>
          </p:nvSpPr>
          <p:spPr>
            <a:xfrm>
              <a:off x="5090921" y="962405"/>
              <a:ext cx="1371600" cy="568960"/>
            </a:xfrm>
            <a:custGeom>
              <a:avLst/>
              <a:gdLst/>
              <a:ahLst/>
              <a:cxnLst/>
              <a:rect l="l" t="t" r="r" b="b"/>
              <a:pathLst>
                <a:path w="1371600" h="568960">
                  <a:moveTo>
                    <a:pt x="0" y="568451"/>
                  </a:moveTo>
                  <a:lnTo>
                    <a:pt x="1371600" y="568451"/>
                  </a:lnTo>
                  <a:lnTo>
                    <a:pt x="1371600" y="0"/>
                  </a:lnTo>
                  <a:lnTo>
                    <a:pt x="0" y="0"/>
                  </a:lnTo>
                  <a:lnTo>
                    <a:pt x="0" y="568451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51" name="object 73"/>
            <p:cNvSpPr/>
            <p:nvPr/>
          </p:nvSpPr>
          <p:spPr>
            <a:xfrm>
              <a:off x="6812280" y="3701796"/>
              <a:ext cx="812800" cy="468630"/>
            </a:xfrm>
            <a:custGeom>
              <a:avLst/>
              <a:gdLst/>
              <a:ahLst/>
              <a:cxnLst/>
              <a:rect l="l" t="t" r="r" b="b"/>
              <a:pathLst>
                <a:path w="812800" h="468629">
                  <a:moveTo>
                    <a:pt x="0" y="58800"/>
                  </a:moveTo>
                  <a:lnTo>
                    <a:pt x="0" y="0"/>
                  </a:lnTo>
                  <a:lnTo>
                    <a:pt x="812292" y="0"/>
                  </a:lnTo>
                  <a:lnTo>
                    <a:pt x="812292" y="466089"/>
                  </a:lnTo>
                  <a:lnTo>
                    <a:pt x="793440" y="466301"/>
                  </a:lnTo>
                  <a:lnTo>
                    <a:pt x="775869" y="466820"/>
                  </a:lnTo>
                  <a:lnTo>
                    <a:pt x="760833" y="467470"/>
                  </a:lnTo>
                  <a:lnTo>
                    <a:pt x="749587" y="468075"/>
                  </a:lnTo>
                  <a:lnTo>
                    <a:pt x="743385" y="468460"/>
                  </a:lnTo>
                </a:path>
              </a:pathLst>
            </a:custGeom>
            <a:ln w="9144">
              <a:solidFill>
                <a:srgbClr val="974707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52" name="object 74"/>
            <p:cNvSpPr/>
            <p:nvPr/>
          </p:nvSpPr>
          <p:spPr>
            <a:xfrm>
              <a:off x="5440679" y="3826764"/>
              <a:ext cx="111251" cy="441959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53" name="object 77"/>
            <p:cNvSpPr/>
            <p:nvPr/>
          </p:nvSpPr>
          <p:spPr>
            <a:xfrm>
              <a:off x="5496305" y="4133151"/>
              <a:ext cx="1187450" cy="120650"/>
            </a:xfrm>
            <a:custGeom>
              <a:avLst/>
              <a:gdLst/>
              <a:ahLst/>
              <a:cxnLst/>
              <a:rect l="l" t="t" r="r" b="b"/>
              <a:pathLst>
                <a:path w="1187450" h="120650">
                  <a:moveTo>
                    <a:pt x="1135503" y="60134"/>
                  </a:moveTo>
                  <a:lnTo>
                    <a:pt x="1070737" y="97891"/>
                  </a:lnTo>
                  <a:lnTo>
                    <a:pt x="1068704" y="105816"/>
                  </a:lnTo>
                  <a:lnTo>
                    <a:pt x="1075817" y="118173"/>
                  </a:lnTo>
                  <a:lnTo>
                    <a:pt x="1083818" y="120269"/>
                  </a:lnTo>
                  <a:lnTo>
                    <a:pt x="1164706" y="73088"/>
                  </a:lnTo>
                  <a:lnTo>
                    <a:pt x="1161161" y="73088"/>
                  </a:lnTo>
                  <a:lnTo>
                    <a:pt x="1161161" y="71323"/>
                  </a:lnTo>
                  <a:lnTo>
                    <a:pt x="1154684" y="71323"/>
                  </a:lnTo>
                  <a:lnTo>
                    <a:pt x="1135503" y="60134"/>
                  </a:lnTo>
                  <a:close/>
                </a:path>
                <a:path w="1187450" h="120650">
                  <a:moveTo>
                    <a:pt x="1113296" y="47180"/>
                  </a:moveTo>
                  <a:lnTo>
                    <a:pt x="0" y="47180"/>
                  </a:lnTo>
                  <a:lnTo>
                    <a:pt x="0" y="73088"/>
                  </a:lnTo>
                  <a:lnTo>
                    <a:pt x="1113296" y="73088"/>
                  </a:lnTo>
                  <a:lnTo>
                    <a:pt x="1135503" y="60134"/>
                  </a:lnTo>
                  <a:lnTo>
                    <a:pt x="1113296" y="47180"/>
                  </a:lnTo>
                  <a:close/>
                </a:path>
                <a:path w="1187450" h="120650">
                  <a:moveTo>
                    <a:pt x="1164706" y="47180"/>
                  </a:moveTo>
                  <a:lnTo>
                    <a:pt x="1161161" y="47180"/>
                  </a:lnTo>
                  <a:lnTo>
                    <a:pt x="1161161" y="73088"/>
                  </a:lnTo>
                  <a:lnTo>
                    <a:pt x="1164706" y="73088"/>
                  </a:lnTo>
                  <a:lnTo>
                    <a:pt x="1186942" y="60134"/>
                  </a:lnTo>
                  <a:lnTo>
                    <a:pt x="1164706" y="47180"/>
                  </a:lnTo>
                  <a:close/>
                </a:path>
                <a:path w="1187450" h="120650">
                  <a:moveTo>
                    <a:pt x="1154684" y="48945"/>
                  </a:moveTo>
                  <a:lnTo>
                    <a:pt x="1135503" y="60134"/>
                  </a:lnTo>
                  <a:lnTo>
                    <a:pt x="1154684" y="71323"/>
                  </a:lnTo>
                  <a:lnTo>
                    <a:pt x="1154684" y="48945"/>
                  </a:lnTo>
                  <a:close/>
                </a:path>
                <a:path w="1187450" h="120650">
                  <a:moveTo>
                    <a:pt x="1161161" y="48945"/>
                  </a:moveTo>
                  <a:lnTo>
                    <a:pt x="1154684" y="48945"/>
                  </a:lnTo>
                  <a:lnTo>
                    <a:pt x="1154684" y="71323"/>
                  </a:lnTo>
                  <a:lnTo>
                    <a:pt x="1161161" y="71323"/>
                  </a:lnTo>
                  <a:lnTo>
                    <a:pt x="1161161" y="48945"/>
                  </a:lnTo>
                  <a:close/>
                </a:path>
                <a:path w="1187450" h="120650">
                  <a:moveTo>
                    <a:pt x="1083818" y="0"/>
                  </a:moveTo>
                  <a:lnTo>
                    <a:pt x="1075817" y="2082"/>
                  </a:lnTo>
                  <a:lnTo>
                    <a:pt x="1068704" y="14452"/>
                  </a:lnTo>
                  <a:lnTo>
                    <a:pt x="1070737" y="22377"/>
                  </a:lnTo>
                  <a:lnTo>
                    <a:pt x="1135503" y="60134"/>
                  </a:lnTo>
                  <a:lnTo>
                    <a:pt x="1154684" y="48945"/>
                  </a:lnTo>
                  <a:lnTo>
                    <a:pt x="1161161" y="48945"/>
                  </a:lnTo>
                  <a:lnTo>
                    <a:pt x="1161161" y="47180"/>
                  </a:lnTo>
                  <a:lnTo>
                    <a:pt x="1164706" y="47180"/>
                  </a:lnTo>
                  <a:lnTo>
                    <a:pt x="1083818" y="0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54" name="object 78"/>
            <p:cNvSpPr txBox="1"/>
            <p:nvPr/>
          </p:nvSpPr>
          <p:spPr>
            <a:xfrm>
              <a:off x="4270375" y="1173988"/>
              <a:ext cx="767080" cy="22161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400" dirty="0">
                  <a:solidFill>
                    <a:srgbClr val="006FC0"/>
                  </a:solidFill>
                  <a:latin typeface="Tahoma"/>
                  <a:cs typeface="Tahoma"/>
                </a:rPr>
                <a:t>metad</a:t>
              </a:r>
              <a:r>
                <a:rPr sz="1400" spc="-10" dirty="0">
                  <a:solidFill>
                    <a:srgbClr val="006FC0"/>
                  </a:solidFill>
                  <a:latin typeface="Tahoma"/>
                  <a:cs typeface="Tahoma"/>
                </a:rPr>
                <a:t>a</a:t>
              </a:r>
              <a:r>
                <a:rPr sz="1400" spc="-5" dirty="0">
                  <a:solidFill>
                    <a:srgbClr val="006FC0"/>
                  </a:solidFill>
                  <a:latin typeface="Tahoma"/>
                  <a:cs typeface="Tahoma"/>
                </a:rPr>
                <a:t>ta</a:t>
              </a:r>
              <a:endParaRPr sz="1400" dirty="0">
                <a:latin typeface="Tahoma"/>
                <a:cs typeface="Tahoma"/>
              </a:endParaRPr>
            </a:p>
          </p:txBody>
        </p:sp>
        <p:sp>
          <p:nvSpPr>
            <p:cNvPr id="55" name="object 79"/>
            <p:cNvSpPr txBox="1"/>
            <p:nvPr/>
          </p:nvSpPr>
          <p:spPr>
            <a:xfrm>
              <a:off x="4696459" y="3966261"/>
              <a:ext cx="767080" cy="22161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400" dirty="0">
                  <a:solidFill>
                    <a:srgbClr val="006FC0"/>
                  </a:solidFill>
                  <a:latin typeface="Tahoma"/>
                  <a:cs typeface="Tahoma"/>
                </a:rPr>
                <a:t>metad</a:t>
              </a:r>
              <a:r>
                <a:rPr sz="1400" spc="-10" dirty="0">
                  <a:solidFill>
                    <a:srgbClr val="006FC0"/>
                  </a:solidFill>
                  <a:latin typeface="Tahoma"/>
                  <a:cs typeface="Tahoma"/>
                </a:rPr>
                <a:t>a</a:t>
              </a:r>
              <a:r>
                <a:rPr sz="1400" spc="-5" dirty="0">
                  <a:solidFill>
                    <a:srgbClr val="006FC0"/>
                  </a:solidFill>
                  <a:latin typeface="Tahoma"/>
                  <a:cs typeface="Tahoma"/>
                </a:rPr>
                <a:t>ta</a:t>
              </a:r>
              <a:endParaRPr sz="1400" dirty="0">
                <a:latin typeface="Tahoma"/>
                <a:cs typeface="Tahoma"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6534150" y="1188973"/>
              <a:ext cx="1423416" cy="886034"/>
              <a:chOff x="1700784" y="3954494"/>
              <a:chExt cx="1423416" cy="886034"/>
            </a:xfrm>
          </p:grpSpPr>
          <p:sp>
            <p:nvSpPr>
              <p:cNvPr id="58" name="Cloud Callout 57"/>
              <p:cNvSpPr/>
              <p:nvPr/>
            </p:nvSpPr>
            <p:spPr>
              <a:xfrm>
                <a:off x="1700784" y="3954494"/>
                <a:ext cx="1423416" cy="886034"/>
              </a:xfrm>
              <a:prstGeom prst="cloudCallout">
                <a:avLst/>
              </a:prstGeom>
              <a:gradFill flip="none" rotWithShape="1">
                <a:gsLst>
                  <a:gs pos="0">
                    <a:srgbClr val="00B0F0">
                      <a:shade val="30000"/>
                      <a:satMod val="115000"/>
                    </a:srgbClr>
                  </a:gs>
                  <a:gs pos="5000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0800000" scaled="1"/>
                <a:tileRect/>
              </a:gra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>
                <a:spAutoFit/>
              </a:bodyPr>
              <a:lstStyle/>
              <a:p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9" name="object 54"/>
              <p:cNvSpPr txBox="1"/>
              <p:nvPr/>
            </p:nvSpPr>
            <p:spPr>
              <a:xfrm>
                <a:off x="2026284" y="4231275"/>
                <a:ext cx="812165" cy="37465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</a:pPr>
                <a:r>
                  <a:rPr sz="1200" dirty="0">
                    <a:solidFill>
                      <a:srgbClr val="FFFFFF"/>
                    </a:solidFill>
                    <a:latin typeface="Tahoma"/>
                    <a:cs typeface="Tahoma"/>
                  </a:rPr>
                  <a:t>S</a:t>
                </a:r>
                <a:r>
                  <a:rPr sz="1200" spc="-5" dirty="0">
                    <a:solidFill>
                      <a:srgbClr val="FFFFFF"/>
                    </a:solidFill>
                    <a:latin typeface="Tahoma"/>
                    <a:cs typeface="Tahoma"/>
                  </a:rPr>
                  <a:t>ingle </a:t>
                </a:r>
                <a:r>
                  <a:rPr sz="1200" spc="-30" dirty="0">
                    <a:solidFill>
                      <a:srgbClr val="FFFFFF"/>
                    </a:solidFill>
                    <a:latin typeface="Tahoma"/>
                    <a:cs typeface="Tahoma"/>
                  </a:rPr>
                  <a:t>P</a:t>
                </a:r>
                <a:r>
                  <a:rPr sz="1200" spc="-5" dirty="0">
                    <a:solidFill>
                      <a:srgbClr val="FFFFFF"/>
                    </a:solidFill>
                    <a:latin typeface="Tahoma"/>
                    <a:cs typeface="Tahoma"/>
                  </a:rPr>
                  <a:t>oint</a:t>
                </a:r>
                <a:endParaRPr sz="1200" dirty="0">
                  <a:latin typeface="Tahoma"/>
                  <a:cs typeface="Tahoma"/>
                </a:endParaRPr>
              </a:p>
              <a:p>
                <a:pPr algn="ctr">
                  <a:lnSpc>
                    <a:spcPct val="100000"/>
                  </a:lnSpc>
                </a:pPr>
                <a:r>
                  <a:rPr sz="1200" spc="-65" dirty="0">
                    <a:solidFill>
                      <a:srgbClr val="FFFFFF"/>
                    </a:solidFill>
                    <a:latin typeface="Tahoma"/>
                    <a:cs typeface="Tahoma"/>
                  </a:rPr>
                  <a:t>F</a:t>
                </a:r>
                <a:r>
                  <a:rPr sz="1200" spc="-10" dirty="0">
                    <a:solidFill>
                      <a:srgbClr val="FFFFFF"/>
                    </a:solidFill>
                    <a:latin typeface="Tahoma"/>
                    <a:cs typeface="Tahoma"/>
                  </a:rPr>
                  <a:t>a</a:t>
                </a:r>
                <a:r>
                  <a:rPr sz="1200" dirty="0">
                    <a:solidFill>
                      <a:srgbClr val="FFFFFF"/>
                    </a:solidFill>
                    <a:latin typeface="Tahoma"/>
                    <a:cs typeface="Tahoma"/>
                  </a:rPr>
                  <a:t>ilure</a:t>
                </a:r>
                <a:endParaRPr sz="1200" dirty="0">
                  <a:latin typeface="Tahoma"/>
                  <a:cs typeface="Tahoma"/>
                </a:endParaRPr>
              </a:p>
            </p:txBody>
          </p:sp>
        </p:grpSp>
        <p:sp>
          <p:nvSpPr>
            <p:cNvPr id="57" name="Cloud Callout 56"/>
            <p:cNvSpPr/>
            <p:nvPr/>
          </p:nvSpPr>
          <p:spPr>
            <a:xfrm>
              <a:off x="6366510" y="2244852"/>
              <a:ext cx="1710690" cy="1227523"/>
            </a:xfrm>
            <a:prstGeom prst="cloudCallout">
              <a:avLst>
                <a:gd name="adj1" fmla="val -31651"/>
                <a:gd name="adj2" fmla="val 58953"/>
              </a:avLst>
            </a:pr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endParaRPr lang="en-IN" dirty="0"/>
            </a:p>
          </p:txBody>
        </p:sp>
      </p:grpSp>
      <p:sp>
        <p:nvSpPr>
          <p:cNvPr id="60" name="Rectangle 59"/>
          <p:cNvSpPr/>
          <p:nvPr/>
        </p:nvSpPr>
        <p:spPr>
          <a:xfrm>
            <a:off x="6747157" y="2404885"/>
            <a:ext cx="890327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IN" sz="1200" dirty="0">
                <a:solidFill>
                  <a:srgbClr val="FFFFFF"/>
                </a:solidFill>
                <a:latin typeface="Tahoma"/>
                <a:cs typeface="Tahoma"/>
              </a:rPr>
              <a:t>You give me metadata every hour, I will make it secure</a:t>
            </a:r>
          </a:p>
        </p:txBody>
      </p:sp>
    </p:spTree>
    <p:extLst>
      <p:ext uri="{BB962C8B-B14F-4D97-AF65-F5344CB8AC3E}">
        <p14:creationId xmlns:p14="http://schemas.microsoft.com/office/powerpoint/2010/main" val="247601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2" y="96838"/>
            <a:ext cx="7482427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Hadoop 2.0 Cluster Architecture: High Availability</a:t>
            </a:r>
            <a:endParaRPr lang="en-IN" dirty="0">
              <a:solidFill>
                <a:srgbClr val="262626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600200" y="1200150"/>
            <a:ext cx="5791200" cy="3124200"/>
            <a:chOff x="1600200" y="1200150"/>
            <a:chExt cx="5791200" cy="3124200"/>
          </a:xfrm>
        </p:grpSpPr>
        <p:grpSp>
          <p:nvGrpSpPr>
            <p:cNvPr id="6" name="Group 5"/>
            <p:cNvGrpSpPr/>
            <p:nvPr/>
          </p:nvGrpSpPr>
          <p:grpSpPr>
            <a:xfrm>
              <a:off x="1600200" y="1200150"/>
              <a:ext cx="5097655" cy="3124200"/>
              <a:chOff x="762000" y="742950"/>
              <a:chExt cx="6781800" cy="3823949"/>
            </a:xfrm>
          </p:grpSpPr>
          <p:grpSp>
            <p:nvGrpSpPr>
              <p:cNvPr id="37" name="Group 36"/>
              <p:cNvGrpSpPr/>
              <p:nvPr/>
            </p:nvGrpSpPr>
            <p:grpSpPr>
              <a:xfrm>
                <a:off x="1669246" y="3590432"/>
                <a:ext cx="1594605" cy="976467"/>
                <a:chOff x="5337511" y="3465985"/>
                <a:chExt cx="1502389" cy="636414"/>
              </a:xfrm>
            </p:grpSpPr>
            <p:sp>
              <p:nvSpPr>
                <p:cNvPr id="76" name="Rounded Rectangle 75"/>
                <p:cNvSpPr/>
                <p:nvPr/>
              </p:nvSpPr>
              <p:spPr>
                <a:xfrm>
                  <a:off x="5337511" y="3465985"/>
                  <a:ext cx="1370814" cy="636414"/>
                </a:xfrm>
                <a:prstGeom prst="roundRect">
                  <a:avLst/>
                </a:prstGeom>
                <a:gradFill>
                  <a:gsLst>
                    <a:gs pos="0">
                      <a:srgbClr val="BDD632"/>
                    </a:gs>
                    <a:gs pos="100000">
                      <a:srgbClr val="637016"/>
                    </a:gs>
                  </a:gsLst>
                  <a:lin ang="5400000" scaled="1"/>
                </a:gra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9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    </a:t>
                  </a:r>
                  <a:endParaRPr lang="en-IN" sz="9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77" name="TextBox 76"/>
                <p:cNvSpPr txBox="1"/>
                <p:nvPr/>
              </p:nvSpPr>
              <p:spPr>
                <a:xfrm>
                  <a:off x="5475204" y="3507376"/>
                  <a:ext cx="1364696" cy="20255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Node Manager</a:t>
                  </a:r>
                  <a:endParaRPr lang="en-IN" sz="1000" dirty="0"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sp>
            <p:nvSpPr>
              <p:cNvPr id="38" name="TextBox 37"/>
              <p:cNvSpPr txBox="1"/>
              <p:nvPr/>
            </p:nvSpPr>
            <p:spPr>
              <a:xfrm>
                <a:off x="3810000" y="742950"/>
                <a:ext cx="736173" cy="3107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DFS</a:t>
                </a:r>
                <a:endParaRPr lang="en-IN" sz="1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6096000" y="1050728"/>
                <a:ext cx="757499" cy="3107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YARN</a:t>
                </a:r>
                <a:endParaRPr lang="en-IN" sz="1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0" name="Rounded Rectangle 39"/>
              <p:cNvSpPr/>
              <p:nvPr/>
            </p:nvSpPr>
            <p:spPr>
              <a:xfrm>
                <a:off x="6063437" y="1970789"/>
                <a:ext cx="1480363" cy="472362"/>
              </a:xfrm>
              <a:prstGeom prst="roundRect">
                <a:avLst/>
              </a:prstGeom>
              <a:gradFill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Resource Manager</a:t>
                </a:r>
                <a:endParaRPr lang="en-IN" sz="90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1" name="Flowchart: Magnetic Disk 40"/>
              <p:cNvSpPr/>
              <p:nvPr/>
            </p:nvSpPr>
            <p:spPr>
              <a:xfrm>
                <a:off x="3120036" y="1116018"/>
                <a:ext cx="918564" cy="617037"/>
              </a:xfrm>
              <a:prstGeom prst="flowChartMagneticDisk">
                <a:avLst/>
              </a:prstGeom>
              <a:gradFill>
                <a:gsLst>
                  <a:gs pos="0">
                    <a:srgbClr val="0070C0"/>
                  </a:gs>
                  <a:gs pos="100000">
                    <a:srgbClr val="002642"/>
                  </a:gs>
                </a:gsLst>
                <a:lin ang="5400000" scaled="1"/>
              </a:gradFill>
              <a:ln w="9525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hared  edit logs</a:t>
                </a:r>
                <a:endParaRPr lang="en-IN" sz="8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cxnSp>
            <p:nvCxnSpPr>
              <p:cNvPr id="42" name="Straight Arrow Connector 41"/>
              <p:cNvCxnSpPr>
                <a:stCxn id="50" idx="0"/>
              </p:cNvCxnSpPr>
              <p:nvPr/>
            </p:nvCxnSpPr>
            <p:spPr>
              <a:xfrm rot="5400000" flipH="1" flipV="1">
                <a:off x="3034263" y="1408674"/>
                <a:ext cx="223287" cy="900944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3" name="Straight Arrow Connector 42"/>
              <p:cNvCxnSpPr>
                <a:endCxn id="48" idx="0"/>
              </p:cNvCxnSpPr>
              <p:nvPr/>
            </p:nvCxnSpPr>
            <p:spPr>
              <a:xfrm>
                <a:off x="3590881" y="1747500"/>
                <a:ext cx="649333" cy="223289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4" name="TextBox 43"/>
              <p:cNvSpPr txBox="1"/>
              <p:nvPr/>
            </p:nvSpPr>
            <p:spPr>
              <a:xfrm>
                <a:off x="878428" y="1007349"/>
                <a:ext cx="1864771" cy="79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9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ll name space edits logged to shared NFS storage; single writer (fencing) </a:t>
                </a:r>
                <a:endParaRPr lang="en-IN" sz="9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4152931" y="1277341"/>
                <a:ext cx="2128584" cy="4520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ead edit logs and applies to its own namespace</a:t>
                </a:r>
                <a:endParaRPr lang="en-IN" sz="9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6" name="Rounded Rectangle 45"/>
              <p:cNvSpPr/>
              <p:nvPr/>
            </p:nvSpPr>
            <p:spPr>
              <a:xfrm>
                <a:off x="762000" y="1970789"/>
                <a:ext cx="1133942" cy="472879"/>
              </a:xfrm>
              <a:prstGeom prst="roundRect">
                <a:avLst/>
              </a:prstGeom>
              <a:gradFill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Secondary Name Node</a:t>
                </a:r>
                <a:endParaRPr lang="en-IN" sz="90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1668127" y="2814469"/>
                <a:ext cx="1447863" cy="775965"/>
                <a:chOff x="585349" y="3034549"/>
                <a:chExt cx="1370814" cy="636414"/>
              </a:xfrm>
            </p:grpSpPr>
            <p:sp>
              <p:nvSpPr>
                <p:cNvPr id="71" name="Rounded Rectangle 70"/>
                <p:cNvSpPr/>
                <p:nvPr/>
              </p:nvSpPr>
              <p:spPr>
                <a:xfrm>
                  <a:off x="585349" y="3034549"/>
                  <a:ext cx="1370814" cy="636414"/>
                </a:xfrm>
                <a:prstGeom prst="roundRect">
                  <a:avLst/>
                </a:prstGeom>
                <a:gradFill>
                  <a:gsLst>
                    <a:gs pos="0">
                      <a:srgbClr val="F79A03"/>
                    </a:gs>
                    <a:gs pos="100000">
                      <a:srgbClr val="BC3E0C"/>
                    </a:gs>
                  </a:gsLst>
                  <a:lin ang="5400000" scaled="1"/>
                </a:gra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9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    </a:t>
                  </a:r>
                  <a:endParaRPr lang="en-IN" sz="9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72" name="Rectangle 71"/>
                <p:cNvSpPr/>
                <p:nvPr/>
              </p:nvSpPr>
              <p:spPr>
                <a:xfrm>
                  <a:off x="711029" y="3403297"/>
                  <a:ext cx="293726" cy="165706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73" name="TextBox 72"/>
                <p:cNvSpPr txBox="1"/>
                <p:nvPr/>
              </p:nvSpPr>
              <p:spPr>
                <a:xfrm>
                  <a:off x="825746" y="3040054"/>
                  <a:ext cx="933232" cy="24717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DataNode</a:t>
                  </a:r>
                  <a:endParaRPr lang="en-IN" sz="10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74" name="Rectangle 73"/>
                <p:cNvSpPr/>
                <p:nvPr/>
              </p:nvSpPr>
              <p:spPr>
                <a:xfrm>
                  <a:off x="1109614" y="3403297"/>
                  <a:ext cx="293726" cy="165706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75" name="Rectangle 74"/>
                <p:cNvSpPr/>
                <p:nvPr/>
              </p:nvSpPr>
              <p:spPr>
                <a:xfrm>
                  <a:off x="1508199" y="3403297"/>
                  <a:ext cx="293726" cy="165706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</p:grpSp>
          <p:sp>
            <p:nvSpPr>
              <p:cNvPr id="48" name="Rounded Rectangle 47"/>
              <p:cNvSpPr/>
              <p:nvPr/>
            </p:nvSpPr>
            <p:spPr>
              <a:xfrm>
                <a:off x="3679825" y="1970789"/>
                <a:ext cx="1120776" cy="489900"/>
              </a:xfrm>
              <a:prstGeom prst="roundRect">
                <a:avLst/>
              </a:prstGeom>
              <a:gradFill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Standby NameNode</a:t>
                </a:r>
                <a:endParaRPr lang="en-IN" sz="90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cxnSp>
            <p:nvCxnSpPr>
              <p:cNvPr id="49" name="Straight Arrow Connector 48"/>
              <p:cNvCxnSpPr>
                <a:stCxn id="46" idx="3"/>
                <a:endCxn id="50" idx="1"/>
              </p:cNvCxnSpPr>
              <p:nvPr/>
            </p:nvCxnSpPr>
            <p:spPr>
              <a:xfrm>
                <a:off x="1895942" y="2207229"/>
                <a:ext cx="218325" cy="10038"/>
              </a:xfrm>
              <a:prstGeom prst="straightConnector1">
                <a:avLst/>
              </a:prstGeom>
              <a:ln>
                <a:headEnd type="triangle"/>
                <a:tailEnd type="triangl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50" name="Rounded Rectangle 49"/>
              <p:cNvSpPr/>
              <p:nvPr/>
            </p:nvSpPr>
            <p:spPr>
              <a:xfrm>
                <a:off x="2114267" y="1970789"/>
                <a:ext cx="1162334" cy="492956"/>
              </a:xfrm>
              <a:prstGeom prst="roundRect">
                <a:avLst/>
              </a:prstGeom>
              <a:gradFill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Active NameNode</a:t>
                </a:r>
                <a:endParaRPr lang="en-IN" sz="90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1" name="Rounded Rectangle 50"/>
              <p:cNvSpPr/>
              <p:nvPr/>
            </p:nvSpPr>
            <p:spPr>
              <a:xfrm>
                <a:off x="2430127" y="4019550"/>
                <a:ext cx="609600" cy="38100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/>
              </a:p>
            </p:txBody>
          </p:sp>
          <p:sp>
            <p:nvSpPr>
              <p:cNvPr id="52" name="Rounded Rectangle 51"/>
              <p:cNvSpPr/>
              <p:nvPr/>
            </p:nvSpPr>
            <p:spPr>
              <a:xfrm>
                <a:off x="1744327" y="4019550"/>
                <a:ext cx="609600" cy="38100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/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1702044" y="4095750"/>
                <a:ext cx="678593" cy="226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ontainer</a:t>
                </a:r>
                <a:endParaRPr lang="en-US" sz="6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2483451" y="4019550"/>
                <a:ext cx="546371" cy="33904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6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App</a:t>
                </a:r>
              </a:p>
              <a:p>
                <a:pPr algn="ctr"/>
                <a:r>
                  <a:rPr lang="en-US" sz="6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Master</a:t>
                </a:r>
                <a:endParaRPr lang="en-US" sz="6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grpSp>
            <p:nvGrpSpPr>
              <p:cNvPr id="55" name="Group 54"/>
              <p:cNvGrpSpPr/>
              <p:nvPr/>
            </p:nvGrpSpPr>
            <p:grpSpPr>
              <a:xfrm>
                <a:off x="3429000" y="2800350"/>
                <a:ext cx="1595724" cy="1752430"/>
                <a:chOff x="1439527" y="2966869"/>
                <a:chExt cx="1595724" cy="1752430"/>
              </a:xfrm>
            </p:grpSpPr>
            <p:grpSp>
              <p:nvGrpSpPr>
                <p:cNvPr id="58" name="Group 57"/>
                <p:cNvGrpSpPr/>
                <p:nvPr/>
              </p:nvGrpSpPr>
              <p:grpSpPr>
                <a:xfrm>
                  <a:off x="1440646" y="3742832"/>
                  <a:ext cx="1594605" cy="976467"/>
                  <a:chOff x="5337511" y="3465985"/>
                  <a:chExt cx="1502389" cy="636414"/>
                </a:xfrm>
              </p:grpSpPr>
              <p:sp>
                <p:nvSpPr>
                  <p:cNvPr id="69" name="Rounded Rectangle 68"/>
                  <p:cNvSpPr/>
                  <p:nvPr/>
                </p:nvSpPr>
                <p:spPr>
                  <a:xfrm>
                    <a:off x="5337511" y="3465985"/>
                    <a:ext cx="1370814" cy="636414"/>
                  </a:xfrm>
                  <a:prstGeom prst="roundRect">
                    <a:avLst/>
                  </a:prstGeom>
                  <a:gradFill>
                    <a:gsLst>
                      <a:gs pos="0">
                        <a:srgbClr val="BDD632"/>
                      </a:gs>
                      <a:gs pos="100000">
                        <a:srgbClr val="637016"/>
                      </a:gs>
                    </a:gsLst>
                    <a:lin ang="5400000" scaled="1"/>
                  </a:gradFill>
                  <a:ln>
                    <a:noFill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1">
                    <a:schemeClr val="accent4"/>
                  </a:lnRef>
                  <a:fillRef idx="3">
                    <a:schemeClr val="accent4"/>
                  </a:fillRef>
                  <a:effectRef idx="2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en-US" sz="900" dirty="0" smtClean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     </a:t>
                    </a:r>
                    <a:endParaRPr lang="en-IN" sz="900" dirty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70" name="TextBox 69"/>
                  <p:cNvSpPr txBox="1"/>
                  <p:nvPr/>
                </p:nvSpPr>
                <p:spPr>
                  <a:xfrm>
                    <a:off x="5475204" y="3507376"/>
                    <a:ext cx="1364696" cy="20255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10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 Node Manager</a:t>
                    </a:r>
                    <a:endParaRPr lang="en-IN" sz="1000" dirty="0"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</p:grpSp>
            <p:grpSp>
              <p:nvGrpSpPr>
                <p:cNvPr id="59" name="Group 58"/>
                <p:cNvGrpSpPr/>
                <p:nvPr/>
              </p:nvGrpSpPr>
              <p:grpSpPr>
                <a:xfrm>
                  <a:off x="1439527" y="2966869"/>
                  <a:ext cx="1447863" cy="775965"/>
                  <a:chOff x="585349" y="3034549"/>
                  <a:chExt cx="1370814" cy="636414"/>
                </a:xfrm>
              </p:grpSpPr>
              <p:sp>
                <p:nvSpPr>
                  <p:cNvPr id="64" name="Rounded Rectangle 63"/>
                  <p:cNvSpPr/>
                  <p:nvPr/>
                </p:nvSpPr>
                <p:spPr>
                  <a:xfrm>
                    <a:off x="585349" y="3034549"/>
                    <a:ext cx="1370814" cy="636414"/>
                  </a:xfrm>
                  <a:prstGeom prst="roundRect">
                    <a:avLst/>
                  </a:prstGeom>
                  <a:gradFill>
                    <a:gsLst>
                      <a:gs pos="0">
                        <a:srgbClr val="F79A03"/>
                      </a:gs>
                      <a:gs pos="100000">
                        <a:srgbClr val="BC3E0C"/>
                      </a:gs>
                    </a:gsLst>
                    <a:lin ang="5400000" scaled="1"/>
                  </a:gradFill>
                  <a:ln>
                    <a:noFill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1">
                    <a:schemeClr val="accent4"/>
                  </a:lnRef>
                  <a:fillRef idx="3">
                    <a:schemeClr val="accent4"/>
                  </a:fillRef>
                  <a:effectRef idx="2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en-US" sz="900" dirty="0" smtClean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     </a:t>
                    </a:r>
                    <a:endParaRPr lang="en-IN" sz="900" dirty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65" name="Rectangle 64"/>
                  <p:cNvSpPr/>
                  <p:nvPr/>
                </p:nvSpPr>
                <p:spPr>
                  <a:xfrm>
                    <a:off x="711029" y="3403297"/>
                    <a:ext cx="293726" cy="165706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solidFill>
                      <a:schemeClr val="accent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100" dirty="0"/>
                  </a:p>
                </p:txBody>
              </p:sp>
              <p:sp>
                <p:nvSpPr>
                  <p:cNvPr id="66" name="TextBox 65"/>
                  <p:cNvSpPr txBox="1"/>
                  <p:nvPr/>
                </p:nvSpPr>
                <p:spPr>
                  <a:xfrm>
                    <a:off x="825746" y="3040054"/>
                    <a:ext cx="933232" cy="24717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1000" dirty="0" smtClean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DataNode</a:t>
                    </a:r>
                    <a:endParaRPr lang="en-IN" sz="1000" dirty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67" name="Rectangle 66"/>
                  <p:cNvSpPr/>
                  <p:nvPr/>
                </p:nvSpPr>
                <p:spPr>
                  <a:xfrm>
                    <a:off x="1109614" y="3403297"/>
                    <a:ext cx="293726" cy="165706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solidFill>
                      <a:schemeClr val="accent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100" dirty="0"/>
                  </a:p>
                </p:txBody>
              </p:sp>
              <p:sp>
                <p:nvSpPr>
                  <p:cNvPr id="68" name="Rectangle 67"/>
                  <p:cNvSpPr/>
                  <p:nvPr/>
                </p:nvSpPr>
                <p:spPr>
                  <a:xfrm>
                    <a:off x="1508199" y="3403297"/>
                    <a:ext cx="293726" cy="165706"/>
                  </a:xfrm>
                  <a:prstGeom prst="rect">
                    <a:avLst/>
                  </a:prstGeom>
                  <a:solidFill>
                    <a:srgbClr val="FFFF00"/>
                  </a:solidFill>
                  <a:ln w="9525">
                    <a:solidFill>
                      <a:schemeClr val="accent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100" dirty="0"/>
                  </a:p>
                </p:txBody>
              </p:sp>
            </p:grpSp>
            <p:sp>
              <p:nvSpPr>
                <p:cNvPr id="60" name="Rounded Rectangle 59"/>
                <p:cNvSpPr/>
                <p:nvPr/>
              </p:nvSpPr>
              <p:spPr>
                <a:xfrm>
                  <a:off x="2201527" y="4171950"/>
                  <a:ext cx="609600" cy="38100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accent3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 dirty="0"/>
                </a:p>
              </p:txBody>
            </p:sp>
            <p:sp>
              <p:nvSpPr>
                <p:cNvPr id="61" name="Rounded Rectangle 60"/>
                <p:cNvSpPr/>
                <p:nvPr/>
              </p:nvSpPr>
              <p:spPr>
                <a:xfrm>
                  <a:off x="1515727" y="4171950"/>
                  <a:ext cx="609600" cy="38100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accent3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 dirty="0"/>
                </a:p>
              </p:txBody>
            </p:sp>
            <p:sp>
              <p:nvSpPr>
                <p:cNvPr id="62" name="TextBox 61"/>
                <p:cNvSpPr txBox="1"/>
                <p:nvPr/>
              </p:nvSpPr>
              <p:spPr>
                <a:xfrm>
                  <a:off x="1473444" y="4248150"/>
                  <a:ext cx="678593" cy="22602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6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Container</a:t>
                  </a:r>
                  <a:endParaRPr lang="en-US" sz="600" dirty="0"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63" name="TextBox 62"/>
                <p:cNvSpPr txBox="1"/>
                <p:nvPr/>
              </p:nvSpPr>
              <p:spPr>
                <a:xfrm>
                  <a:off x="2254851" y="4171950"/>
                  <a:ext cx="546371" cy="33904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6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App</a:t>
                  </a:r>
                </a:p>
                <a:p>
                  <a:pPr algn="ctr"/>
                  <a:r>
                    <a:rPr lang="en-US" sz="6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Master</a:t>
                  </a:r>
                  <a:endParaRPr lang="en-US" sz="600" dirty="0"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sp>
            <p:nvSpPr>
              <p:cNvPr id="56" name="TextBox 55"/>
              <p:cNvSpPr txBox="1"/>
              <p:nvPr/>
            </p:nvSpPr>
            <p:spPr>
              <a:xfrm>
                <a:off x="5359307" y="2807055"/>
                <a:ext cx="1079521" cy="3107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Data </a:t>
                </a:r>
                <a:r>
                  <a:rPr lang="en-US" sz="100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ode</a:t>
                </a:r>
                <a:endParaRPr lang="en-IN" sz="100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7" name="Rounded Rectangle 56"/>
              <p:cNvSpPr/>
              <p:nvPr/>
            </p:nvSpPr>
            <p:spPr>
              <a:xfrm>
                <a:off x="4572000" y="822127"/>
                <a:ext cx="1504141" cy="352093"/>
              </a:xfrm>
              <a:prstGeom prst="roundRect">
                <a:avLst/>
              </a:prstGeom>
              <a:gradFill>
                <a:gsLst>
                  <a:gs pos="0">
                    <a:srgbClr val="0070C0"/>
                  </a:gs>
                  <a:gs pos="100000">
                    <a:srgbClr val="002642"/>
                  </a:gs>
                </a:gsLst>
                <a:lin ang="5400000" scaled="1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lient</a:t>
                </a:r>
                <a:endParaRPr lang="en-IN" sz="10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6296918" y="2892599"/>
              <a:ext cx="1094482" cy="1431751"/>
              <a:chOff x="6296918" y="2892599"/>
              <a:chExt cx="1094482" cy="1431751"/>
            </a:xfrm>
          </p:grpSpPr>
          <p:grpSp>
            <p:nvGrpSpPr>
              <p:cNvPr id="23" name="Group 22"/>
              <p:cNvGrpSpPr/>
              <p:nvPr/>
            </p:nvGrpSpPr>
            <p:grpSpPr>
              <a:xfrm>
                <a:off x="6296918" y="3690380"/>
                <a:ext cx="1088311" cy="633970"/>
                <a:chOff x="6296918" y="2881064"/>
                <a:chExt cx="1088311" cy="633970"/>
              </a:xfrm>
            </p:grpSpPr>
            <p:sp>
              <p:nvSpPr>
                <p:cNvPr id="32" name="Rounded Rectangle 31"/>
                <p:cNvSpPr/>
                <p:nvPr/>
              </p:nvSpPr>
              <p:spPr>
                <a:xfrm>
                  <a:off x="6296918" y="2881064"/>
                  <a:ext cx="1088311" cy="633970"/>
                </a:xfrm>
                <a:prstGeom prst="roundRect">
                  <a:avLst/>
                </a:prstGeom>
                <a:gradFill>
                  <a:gsLst>
                    <a:gs pos="0">
                      <a:srgbClr val="F79A03"/>
                    </a:gs>
                    <a:gs pos="100000">
                      <a:srgbClr val="BC3E0C"/>
                    </a:gs>
                  </a:gsLst>
                  <a:lin ang="5400000" scaled="1"/>
                </a:gra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9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    </a:t>
                  </a:r>
                  <a:endParaRPr lang="en-IN" sz="9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33" name="Rectangle 32"/>
                <p:cNvSpPr/>
                <p:nvPr/>
              </p:nvSpPr>
              <p:spPr>
                <a:xfrm>
                  <a:off x="6396697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34" name="TextBox 33"/>
                <p:cNvSpPr txBox="1"/>
                <p:nvPr/>
              </p:nvSpPr>
              <p:spPr>
                <a:xfrm>
                  <a:off x="6487773" y="2886548"/>
                  <a:ext cx="740908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DataNode</a:t>
                  </a:r>
                  <a:endParaRPr lang="en-IN" sz="10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35" name="Rectangle 34"/>
                <p:cNvSpPr/>
                <p:nvPr/>
              </p:nvSpPr>
              <p:spPr>
                <a:xfrm>
                  <a:off x="6713140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36" name="Rectangle 35"/>
                <p:cNvSpPr/>
                <p:nvPr/>
              </p:nvSpPr>
              <p:spPr>
                <a:xfrm>
                  <a:off x="7029583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</p:grpSp>
          <p:grpSp>
            <p:nvGrpSpPr>
              <p:cNvPr id="24" name="Group 23"/>
              <p:cNvGrpSpPr/>
              <p:nvPr/>
            </p:nvGrpSpPr>
            <p:grpSpPr>
              <a:xfrm>
                <a:off x="6297759" y="2892599"/>
                <a:ext cx="1093641" cy="797781"/>
                <a:chOff x="6593656" y="3835188"/>
                <a:chExt cx="1093641" cy="797781"/>
              </a:xfrm>
            </p:grpSpPr>
            <p:grpSp>
              <p:nvGrpSpPr>
                <p:cNvPr id="25" name="Group 24"/>
                <p:cNvGrpSpPr/>
                <p:nvPr/>
              </p:nvGrpSpPr>
              <p:grpSpPr>
                <a:xfrm>
                  <a:off x="6593656" y="3835188"/>
                  <a:ext cx="1093641" cy="797781"/>
                  <a:chOff x="6305203" y="3526569"/>
                  <a:chExt cx="1093641" cy="797781"/>
                </a:xfrm>
              </p:grpSpPr>
              <p:sp>
                <p:nvSpPr>
                  <p:cNvPr id="27" name="Rounded Rectangle 26"/>
                  <p:cNvSpPr/>
                  <p:nvPr/>
                </p:nvSpPr>
                <p:spPr>
                  <a:xfrm>
                    <a:off x="6305203" y="3526569"/>
                    <a:ext cx="1093641" cy="797781"/>
                  </a:xfrm>
                  <a:prstGeom prst="roundRect">
                    <a:avLst/>
                  </a:prstGeom>
                  <a:gradFill>
                    <a:gsLst>
                      <a:gs pos="0">
                        <a:srgbClr val="BDD632"/>
                      </a:gs>
                      <a:gs pos="100000">
                        <a:srgbClr val="637016"/>
                      </a:gs>
                    </a:gsLst>
                    <a:lin ang="5400000" scaled="1"/>
                  </a:gradFill>
                  <a:ln>
                    <a:noFill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1">
                    <a:schemeClr val="accent4"/>
                  </a:lnRef>
                  <a:fillRef idx="3">
                    <a:schemeClr val="accent4"/>
                  </a:fillRef>
                  <a:effectRef idx="2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en-US" sz="900" dirty="0" smtClean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     </a:t>
                    </a:r>
                    <a:endParaRPr lang="en-IN" sz="900" dirty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28" name="Rounded Rectangle 27"/>
                  <p:cNvSpPr/>
                  <p:nvPr/>
                </p:nvSpPr>
                <p:spPr>
                  <a:xfrm>
                    <a:off x="6869688" y="3863331"/>
                    <a:ext cx="458216" cy="311280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solidFill>
                      <a:schemeClr val="accent3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100" dirty="0"/>
                  </a:p>
                </p:txBody>
              </p:sp>
              <p:sp>
                <p:nvSpPr>
                  <p:cNvPr id="29" name="Rounded Rectangle 28"/>
                  <p:cNvSpPr/>
                  <p:nvPr/>
                </p:nvSpPr>
                <p:spPr>
                  <a:xfrm>
                    <a:off x="6361639" y="3877165"/>
                    <a:ext cx="458216" cy="311280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solidFill>
                      <a:schemeClr val="accent3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100" dirty="0"/>
                  </a:p>
                </p:txBody>
              </p:sp>
              <p:sp>
                <p:nvSpPr>
                  <p:cNvPr id="30" name="TextBox 29"/>
                  <p:cNvSpPr txBox="1"/>
                  <p:nvPr/>
                </p:nvSpPr>
                <p:spPr>
                  <a:xfrm>
                    <a:off x="6329856" y="3939421"/>
                    <a:ext cx="510076" cy="18466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Container</a:t>
                    </a:r>
                    <a:endParaRPr lang="en-US" sz="600" dirty="0"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31" name="TextBox 30"/>
                  <p:cNvSpPr txBox="1"/>
                  <p:nvPr/>
                </p:nvSpPr>
                <p:spPr>
                  <a:xfrm>
                    <a:off x="6917215" y="3877165"/>
                    <a:ext cx="410689" cy="27699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App</a:t>
                    </a:r>
                  </a:p>
                  <a:p>
                    <a:pPr algn="ctr"/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Master</a:t>
                    </a:r>
                    <a:endParaRPr lang="en-US" sz="600" dirty="0"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</p:grpSp>
            <p:sp>
              <p:nvSpPr>
                <p:cNvPr id="26" name="TextBox 25"/>
                <p:cNvSpPr txBox="1"/>
                <p:nvPr/>
              </p:nvSpPr>
              <p:spPr>
                <a:xfrm>
                  <a:off x="6593656" y="3867150"/>
                  <a:ext cx="1088761" cy="2539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Node Manager</a:t>
                  </a:r>
                  <a:endParaRPr lang="en-IN" sz="1000" dirty="0"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  <p:grpSp>
          <p:nvGrpSpPr>
            <p:cNvPr id="8" name="Group 7"/>
            <p:cNvGrpSpPr/>
            <p:nvPr/>
          </p:nvGrpSpPr>
          <p:grpSpPr>
            <a:xfrm>
              <a:off x="5001518" y="2892599"/>
              <a:ext cx="1094482" cy="1431751"/>
              <a:chOff x="6296918" y="2892599"/>
              <a:chExt cx="1094482" cy="1431751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6296918" y="3690380"/>
                <a:ext cx="1088311" cy="633970"/>
                <a:chOff x="6296918" y="2881064"/>
                <a:chExt cx="1088311" cy="633970"/>
              </a:xfrm>
            </p:grpSpPr>
            <p:sp>
              <p:nvSpPr>
                <p:cNvPr id="18" name="Rounded Rectangle 17"/>
                <p:cNvSpPr/>
                <p:nvPr/>
              </p:nvSpPr>
              <p:spPr>
                <a:xfrm>
                  <a:off x="6296918" y="2881064"/>
                  <a:ext cx="1088311" cy="633970"/>
                </a:xfrm>
                <a:prstGeom prst="roundRect">
                  <a:avLst/>
                </a:prstGeom>
                <a:gradFill>
                  <a:gsLst>
                    <a:gs pos="0">
                      <a:srgbClr val="F79A03"/>
                    </a:gs>
                    <a:gs pos="100000">
                      <a:srgbClr val="BC3E0C"/>
                    </a:gs>
                  </a:gsLst>
                  <a:lin ang="5400000" scaled="1"/>
                </a:gra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9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    </a:t>
                  </a:r>
                  <a:endParaRPr lang="en-IN" sz="9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9" name="Rectangle 18"/>
                <p:cNvSpPr/>
                <p:nvPr/>
              </p:nvSpPr>
              <p:spPr>
                <a:xfrm>
                  <a:off x="6396697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20" name="TextBox 19"/>
                <p:cNvSpPr txBox="1"/>
                <p:nvPr/>
              </p:nvSpPr>
              <p:spPr>
                <a:xfrm>
                  <a:off x="6487773" y="2886548"/>
                  <a:ext cx="740908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DataNode</a:t>
                  </a:r>
                  <a:endParaRPr lang="en-IN" sz="1000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21" name="Rectangle 20"/>
                <p:cNvSpPr/>
                <p:nvPr/>
              </p:nvSpPr>
              <p:spPr>
                <a:xfrm>
                  <a:off x="6713140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  <p:sp>
              <p:nvSpPr>
                <p:cNvPr id="22" name="Rectangle 21"/>
                <p:cNvSpPr/>
                <p:nvPr/>
              </p:nvSpPr>
              <p:spPr>
                <a:xfrm>
                  <a:off x="7029583" y="3248396"/>
                  <a:ext cx="233194" cy="165070"/>
                </a:xfrm>
                <a:prstGeom prst="rect">
                  <a:avLst/>
                </a:prstGeom>
                <a:solidFill>
                  <a:srgbClr val="FFFF00"/>
                </a:solidFill>
                <a:ln w="9525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100" dirty="0"/>
                </a:p>
              </p:txBody>
            </p:sp>
          </p:grpSp>
          <p:grpSp>
            <p:nvGrpSpPr>
              <p:cNvPr id="10" name="Group 9"/>
              <p:cNvGrpSpPr/>
              <p:nvPr/>
            </p:nvGrpSpPr>
            <p:grpSpPr>
              <a:xfrm>
                <a:off x="6297759" y="2892599"/>
                <a:ext cx="1093641" cy="797781"/>
                <a:chOff x="6593656" y="3835188"/>
                <a:chExt cx="1093641" cy="797781"/>
              </a:xfrm>
            </p:grpSpPr>
            <p:grpSp>
              <p:nvGrpSpPr>
                <p:cNvPr id="11" name="Group 10"/>
                <p:cNvGrpSpPr/>
                <p:nvPr/>
              </p:nvGrpSpPr>
              <p:grpSpPr>
                <a:xfrm>
                  <a:off x="6593656" y="3835188"/>
                  <a:ext cx="1093641" cy="797781"/>
                  <a:chOff x="6305203" y="3526569"/>
                  <a:chExt cx="1093641" cy="797781"/>
                </a:xfrm>
              </p:grpSpPr>
              <p:sp>
                <p:nvSpPr>
                  <p:cNvPr id="13" name="Rounded Rectangle 12"/>
                  <p:cNvSpPr/>
                  <p:nvPr/>
                </p:nvSpPr>
                <p:spPr>
                  <a:xfrm>
                    <a:off x="6305203" y="3526569"/>
                    <a:ext cx="1093641" cy="797781"/>
                  </a:xfrm>
                  <a:prstGeom prst="roundRect">
                    <a:avLst/>
                  </a:prstGeom>
                  <a:gradFill>
                    <a:gsLst>
                      <a:gs pos="0">
                        <a:srgbClr val="BDD632"/>
                      </a:gs>
                      <a:gs pos="100000">
                        <a:srgbClr val="637016"/>
                      </a:gs>
                    </a:gsLst>
                    <a:lin ang="5400000" scaled="1"/>
                  </a:gradFill>
                  <a:ln>
                    <a:noFill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1">
                    <a:schemeClr val="accent4"/>
                  </a:lnRef>
                  <a:fillRef idx="3">
                    <a:schemeClr val="accent4"/>
                  </a:fillRef>
                  <a:effectRef idx="2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en-US" sz="900" dirty="0" smtClean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     </a:t>
                    </a:r>
                    <a:endParaRPr lang="en-IN" sz="900" dirty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14" name="Rounded Rectangle 13"/>
                  <p:cNvSpPr/>
                  <p:nvPr/>
                </p:nvSpPr>
                <p:spPr>
                  <a:xfrm>
                    <a:off x="6869688" y="3863331"/>
                    <a:ext cx="458216" cy="311280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solidFill>
                      <a:schemeClr val="accent3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100" dirty="0"/>
                  </a:p>
                </p:txBody>
              </p:sp>
              <p:sp>
                <p:nvSpPr>
                  <p:cNvPr id="15" name="Rounded Rectangle 14"/>
                  <p:cNvSpPr/>
                  <p:nvPr/>
                </p:nvSpPr>
                <p:spPr>
                  <a:xfrm>
                    <a:off x="6361639" y="3877165"/>
                    <a:ext cx="458216" cy="311280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solidFill>
                      <a:schemeClr val="accent3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100" dirty="0"/>
                  </a:p>
                </p:txBody>
              </p:sp>
              <p:sp>
                <p:nvSpPr>
                  <p:cNvPr id="16" name="TextBox 15"/>
                  <p:cNvSpPr txBox="1"/>
                  <p:nvPr/>
                </p:nvSpPr>
                <p:spPr>
                  <a:xfrm>
                    <a:off x="6329856" y="3939421"/>
                    <a:ext cx="510076" cy="18466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Container</a:t>
                    </a:r>
                    <a:endParaRPr lang="en-US" sz="600" dirty="0"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17" name="TextBox 16"/>
                  <p:cNvSpPr txBox="1"/>
                  <p:nvPr/>
                </p:nvSpPr>
                <p:spPr>
                  <a:xfrm>
                    <a:off x="6917215" y="3877165"/>
                    <a:ext cx="410689" cy="27699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App</a:t>
                    </a:r>
                  </a:p>
                  <a:p>
                    <a:pPr algn="ctr"/>
                    <a:r>
                      <a:rPr lang="en-US" sz="600" dirty="0" smtClean="0"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Master</a:t>
                    </a:r>
                    <a:endParaRPr lang="en-US" sz="600" dirty="0"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</p:grpSp>
            <p:sp>
              <p:nvSpPr>
                <p:cNvPr id="12" name="TextBox 11"/>
                <p:cNvSpPr txBox="1"/>
                <p:nvPr/>
              </p:nvSpPr>
              <p:spPr>
                <a:xfrm>
                  <a:off x="6593656" y="3867150"/>
                  <a:ext cx="1088761" cy="2539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000" dirty="0" smtClean="0"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Node Manager</a:t>
                  </a:r>
                  <a:endParaRPr lang="en-IN" sz="1000" dirty="0"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</p:grpSp>
      <p:cxnSp>
        <p:nvCxnSpPr>
          <p:cNvPr id="78" name="Elbow Connector 77"/>
          <p:cNvCxnSpPr>
            <a:stCxn id="57" idx="1"/>
            <a:endCxn id="50" idx="0"/>
          </p:cNvCxnSpPr>
          <p:nvPr/>
        </p:nvCxnSpPr>
        <p:spPr>
          <a:xfrm rot="10800000" flipV="1">
            <a:off x="3053499" y="1408669"/>
            <a:ext cx="1410553" cy="794635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stCxn id="40" idx="0"/>
            <a:endCxn id="57" idx="3"/>
          </p:cNvCxnSpPr>
          <p:nvPr/>
        </p:nvCxnSpPr>
        <p:spPr>
          <a:xfrm rot="16200000" flipV="1">
            <a:off x="5470758" y="1532577"/>
            <a:ext cx="794635" cy="546821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stCxn id="40" idx="2"/>
            <a:endCxn id="27" idx="0"/>
          </p:cNvCxnSpPr>
          <p:nvPr/>
        </p:nvCxnSpPr>
        <p:spPr>
          <a:xfrm>
            <a:off x="6141485" y="2589229"/>
            <a:ext cx="703095" cy="30337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stCxn id="50" idx="2"/>
            <a:endCxn id="71" idx="0"/>
          </p:cNvCxnSpPr>
          <p:nvPr/>
        </p:nvCxnSpPr>
        <p:spPr>
          <a:xfrm flipH="1">
            <a:off x="2825462" y="2606054"/>
            <a:ext cx="228036" cy="286545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/>
          <p:cNvCxnSpPr>
            <a:stCxn id="50" idx="2"/>
            <a:endCxn id="64" idx="0"/>
          </p:cNvCxnSpPr>
          <p:nvPr/>
        </p:nvCxnSpPr>
        <p:spPr>
          <a:xfrm>
            <a:off x="3053498" y="2606054"/>
            <a:ext cx="1095554" cy="27501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48" idx="2"/>
            <a:endCxn id="71" idx="0"/>
          </p:cNvCxnSpPr>
          <p:nvPr/>
        </p:nvCxnSpPr>
        <p:spPr>
          <a:xfrm flipH="1">
            <a:off x="2825462" y="2603558"/>
            <a:ext cx="1389196" cy="28904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stCxn id="48" idx="2"/>
            <a:endCxn id="64" idx="0"/>
          </p:cNvCxnSpPr>
          <p:nvPr/>
        </p:nvCxnSpPr>
        <p:spPr>
          <a:xfrm flipH="1">
            <a:off x="4149052" y="2603558"/>
            <a:ext cx="65606" cy="277506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40" idx="2"/>
            <a:endCxn id="13" idx="0"/>
          </p:cNvCxnSpPr>
          <p:nvPr/>
        </p:nvCxnSpPr>
        <p:spPr>
          <a:xfrm flipH="1">
            <a:off x="5549180" y="2589229"/>
            <a:ext cx="592305" cy="30337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>
          <a:xfrm>
            <a:off x="574265" y="2086921"/>
            <a:ext cx="10342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meNode High Availability</a:t>
            </a:r>
            <a:endParaRPr lang="en-IN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6707405" y="2159967"/>
            <a:ext cx="12682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xt Generation MapReduce</a:t>
            </a:r>
            <a:endParaRPr lang="en-IN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986889" y="4398431"/>
            <a:ext cx="792430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200" dirty="0">
                <a:hlinkClick r:id="rId2"/>
              </a:rPr>
              <a:t>http://hadoop.apache.org/docs/stable2/hadoop-yarn/hadoop-yarn-site/HDFSHighAvailabilityWithNFS.html</a:t>
            </a:r>
            <a:endParaRPr lang="en-IN" sz="1200" dirty="0"/>
          </a:p>
        </p:txBody>
      </p:sp>
      <p:sp>
        <p:nvSpPr>
          <p:cNvPr id="89" name="TextBox 88"/>
          <p:cNvSpPr txBox="1"/>
          <p:nvPr/>
        </p:nvSpPr>
        <p:spPr>
          <a:xfrm>
            <a:off x="3283602" y="813636"/>
            <a:ext cx="25891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DFS HIGH AVAILABILITY</a:t>
            </a:r>
            <a:endParaRPr lang="en-IN" sz="1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65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nds-On</a:t>
            </a:r>
          </a:p>
          <a:p>
            <a:pPr algn="ctr"/>
            <a:endParaRPr lang="en-US" sz="30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3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hieving HDFS and YARN High Availability</a:t>
            </a:r>
            <a:endParaRPr lang="en-US" sz="3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1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nds-On</a:t>
            </a:r>
          </a:p>
          <a:p>
            <a:pPr algn="ctr"/>
            <a:endParaRPr lang="en-US" sz="30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3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curing through ACL</a:t>
            </a:r>
            <a:endParaRPr lang="en-US" sz="3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78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at to do with Big Data ?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5097" y="1318698"/>
            <a:ext cx="5616027" cy="273299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804" y="865077"/>
            <a:ext cx="2418479" cy="364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89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63513" y="1648523"/>
            <a:ext cx="8741685" cy="296082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Hadoop: The Perfect Data Warehouse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849898" y="815417"/>
            <a:ext cx="1397542" cy="56258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ee Text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2513095" y="815417"/>
            <a:ext cx="1395919" cy="56258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ages/</a:t>
            </a:r>
          </a:p>
          <a:p>
            <a:pPr algn="ctr"/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</a:t>
            </a:r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eos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Can 4"/>
          <p:cNvSpPr/>
          <p:nvPr/>
        </p:nvSpPr>
        <p:spPr>
          <a:xfrm>
            <a:off x="1305477" y="1653665"/>
            <a:ext cx="486383" cy="797668"/>
          </a:xfrm>
          <a:prstGeom prst="ca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an 22"/>
          <p:cNvSpPr/>
          <p:nvPr/>
        </p:nvSpPr>
        <p:spPr>
          <a:xfrm>
            <a:off x="3008568" y="1631856"/>
            <a:ext cx="486383" cy="797668"/>
          </a:xfrm>
          <a:prstGeom prst="ca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an 23"/>
          <p:cNvSpPr/>
          <p:nvPr/>
        </p:nvSpPr>
        <p:spPr>
          <a:xfrm>
            <a:off x="4719534" y="1624295"/>
            <a:ext cx="486383" cy="797668"/>
          </a:xfrm>
          <a:prstGeom prst="ca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an 24"/>
          <p:cNvSpPr/>
          <p:nvPr/>
        </p:nvSpPr>
        <p:spPr>
          <a:xfrm>
            <a:off x="6286461" y="1611180"/>
            <a:ext cx="486383" cy="797668"/>
          </a:xfrm>
          <a:prstGeom prst="ca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an 25"/>
          <p:cNvSpPr/>
          <p:nvPr/>
        </p:nvSpPr>
        <p:spPr>
          <a:xfrm>
            <a:off x="7970024" y="1611180"/>
            <a:ext cx="486383" cy="797668"/>
          </a:xfrm>
          <a:prstGeom prst="ca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136447" y="2617748"/>
            <a:ext cx="1090544" cy="340519"/>
          </a:xfrm>
          <a:prstGeom prst="round2DiagRect">
            <a:avLst/>
          </a:prstGeom>
          <a:noFill/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HCatalog</a:t>
            </a:r>
          </a:p>
        </p:txBody>
      </p:sp>
      <p:sp>
        <p:nvSpPr>
          <p:cNvPr id="7" name="Flowchart: Card 6"/>
          <p:cNvSpPr/>
          <p:nvPr/>
        </p:nvSpPr>
        <p:spPr>
          <a:xfrm>
            <a:off x="1665398" y="3154050"/>
            <a:ext cx="1048968" cy="485055"/>
          </a:xfrm>
          <a:prstGeom prst="flowChartPunchedCard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iveSQL</a:t>
            </a:r>
            <a:endParaRPr lang="en-US" dirty="0"/>
          </a:p>
        </p:txBody>
      </p:sp>
      <p:sp>
        <p:nvSpPr>
          <p:cNvPr id="27" name="Flowchart: Card 26"/>
          <p:cNvSpPr/>
          <p:nvPr/>
        </p:nvSpPr>
        <p:spPr>
          <a:xfrm>
            <a:off x="6878029" y="3128933"/>
            <a:ext cx="1048968" cy="485055"/>
          </a:xfrm>
          <a:prstGeom prst="flowChartPunchedCard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thers …</a:t>
            </a:r>
            <a:endParaRPr lang="en-US" dirty="0"/>
          </a:p>
        </p:txBody>
      </p:sp>
      <p:sp>
        <p:nvSpPr>
          <p:cNvPr id="28" name="Flowchart: Card 27"/>
          <p:cNvSpPr/>
          <p:nvPr/>
        </p:nvSpPr>
        <p:spPr>
          <a:xfrm>
            <a:off x="4155566" y="3154051"/>
            <a:ext cx="1194881" cy="485054"/>
          </a:xfrm>
          <a:prstGeom prst="flowChartPunchedCard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mpalaSQL</a:t>
            </a:r>
            <a:endParaRPr lang="en-US" dirty="0"/>
          </a:p>
        </p:txBody>
      </p:sp>
      <p:sp>
        <p:nvSpPr>
          <p:cNvPr id="8" name="Horizontal Scroll 7"/>
          <p:cNvSpPr/>
          <p:nvPr/>
        </p:nvSpPr>
        <p:spPr>
          <a:xfrm>
            <a:off x="1621624" y="3828948"/>
            <a:ext cx="1136516" cy="590551"/>
          </a:xfrm>
          <a:prstGeom prst="horizontalScroll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ableau</a:t>
            </a:r>
            <a:endParaRPr lang="en-US" dirty="0"/>
          </a:p>
        </p:txBody>
      </p:sp>
      <p:sp>
        <p:nvSpPr>
          <p:cNvPr id="29" name="Horizontal Scroll 28"/>
          <p:cNvSpPr/>
          <p:nvPr/>
        </p:nvSpPr>
        <p:spPr>
          <a:xfrm>
            <a:off x="5205917" y="3801190"/>
            <a:ext cx="1136516" cy="590551"/>
          </a:xfrm>
          <a:prstGeom prst="horizontalScroll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gnos</a:t>
            </a:r>
            <a:endParaRPr lang="en-US" dirty="0"/>
          </a:p>
        </p:txBody>
      </p:sp>
      <p:sp>
        <p:nvSpPr>
          <p:cNvPr id="30" name="Horizontal Scroll 29"/>
          <p:cNvSpPr/>
          <p:nvPr/>
        </p:nvSpPr>
        <p:spPr>
          <a:xfrm>
            <a:off x="3374852" y="3821409"/>
            <a:ext cx="1136516" cy="590551"/>
          </a:xfrm>
          <a:prstGeom prst="horizontalScroll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QlikView</a:t>
            </a:r>
            <a:endParaRPr lang="en-US" dirty="0"/>
          </a:p>
        </p:txBody>
      </p:sp>
      <p:sp>
        <p:nvSpPr>
          <p:cNvPr id="31" name="Oval 30"/>
          <p:cNvSpPr/>
          <p:nvPr/>
        </p:nvSpPr>
        <p:spPr>
          <a:xfrm>
            <a:off x="5739316" y="795370"/>
            <a:ext cx="1397542" cy="56258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gs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4155566" y="795370"/>
            <a:ext cx="1502685" cy="56258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saction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402513" y="795369"/>
            <a:ext cx="1502685" cy="56258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nsors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Down Arrow 8"/>
          <p:cNvSpPr/>
          <p:nvPr/>
        </p:nvSpPr>
        <p:spPr>
          <a:xfrm>
            <a:off x="1403739" y="1391653"/>
            <a:ext cx="289858" cy="2699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Down Arrow 33"/>
          <p:cNvSpPr/>
          <p:nvPr/>
        </p:nvSpPr>
        <p:spPr>
          <a:xfrm>
            <a:off x="6363247" y="1347595"/>
            <a:ext cx="289858" cy="2699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Down Arrow 34"/>
          <p:cNvSpPr/>
          <p:nvPr/>
        </p:nvSpPr>
        <p:spPr>
          <a:xfrm>
            <a:off x="4802405" y="1361952"/>
            <a:ext cx="289858" cy="2699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Down Arrow 35"/>
          <p:cNvSpPr/>
          <p:nvPr/>
        </p:nvSpPr>
        <p:spPr>
          <a:xfrm>
            <a:off x="3091836" y="1379323"/>
            <a:ext cx="289858" cy="2699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Down Arrow 36"/>
          <p:cNvSpPr/>
          <p:nvPr/>
        </p:nvSpPr>
        <p:spPr>
          <a:xfrm>
            <a:off x="8068287" y="1363439"/>
            <a:ext cx="289858" cy="2699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Horizontal Scroll 37"/>
          <p:cNvSpPr/>
          <p:nvPr/>
        </p:nvSpPr>
        <p:spPr>
          <a:xfrm>
            <a:off x="7117167" y="3772006"/>
            <a:ext cx="1136516" cy="590551"/>
          </a:xfrm>
          <a:prstGeom prst="horizontalScroll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entaho</a:t>
            </a:r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>
            <a:off x="264451" y="1871514"/>
            <a:ext cx="10286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cs typeface="HP Simplified" pitchFamily="34" charset="0"/>
              </a:rPr>
              <a:t>HDFS Fil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64451" y="2681268"/>
            <a:ext cx="10286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cs typeface="HP Simplified" pitchFamily="34" charset="0"/>
              </a:rPr>
              <a:t>Metadata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47663" y="3321905"/>
            <a:ext cx="11560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cs typeface="HP Simplified" pitchFamily="34" charset="0"/>
              </a:rPr>
              <a:t>Query Engine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75613" y="3928540"/>
            <a:ext cx="11560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cs typeface="HP Simplified" pitchFamily="34" charset="0"/>
              </a:rPr>
              <a:t>BI Tools</a:t>
            </a:r>
          </a:p>
        </p:txBody>
      </p:sp>
    </p:spTree>
    <p:extLst>
      <p:ext uri="{BB962C8B-B14F-4D97-AF65-F5344CB8AC3E}">
        <p14:creationId xmlns:p14="http://schemas.microsoft.com/office/powerpoint/2010/main" val="137118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at is a Data </a:t>
            </a:r>
            <a:r>
              <a:rPr lang="en-US" dirty="0">
                <a:solidFill>
                  <a:srgbClr val="262626"/>
                </a:solidFill>
              </a:rPr>
              <a:t>W</a:t>
            </a:r>
            <a:r>
              <a:rPr lang="en-US" dirty="0" smtClean="0">
                <a:solidFill>
                  <a:srgbClr val="262626"/>
                </a:solidFill>
              </a:rPr>
              <a:t>arehouse is good at ?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64204" y="1721796"/>
            <a:ext cx="7934929" cy="340519"/>
          </a:xfrm>
          <a:prstGeom prst="round2DiagRect">
            <a:avLst/>
          </a:prstGeom>
          <a:noFill/>
          <a:ln w="28575">
            <a:solidFill>
              <a:srgbClr val="00B0F0"/>
            </a:solidFill>
          </a:ln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mong others, a </a:t>
            </a:r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a </a:t>
            </a:r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ehouse is the foundation for a successful business intelligence program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829300" y="2159540"/>
            <a:ext cx="2560188" cy="5745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Data Warehouse Institute</a:t>
            </a: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tdwi.org</a:t>
            </a:r>
          </a:p>
        </p:txBody>
      </p:sp>
    </p:spTree>
    <p:extLst>
      <p:ext uri="{BB962C8B-B14F-4D97-AF65-F5344CB8AC3E}">
        <p14:creationId xmlns:p14="http://schemas.microsoft.com/office/powerpoint/2010/main" val="61726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985" y="162939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Survey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7" y="3129498"/>
            <a:ext cx="3457575" cy="46672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85590" y="903383"/>
            <a:ext cx="8637224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vital for us, be it a compliment, a suggestion or a complaint. It helps us to make your experience better!</a:t>
            </a:r>
            <a:b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1600" dirty="0" err="1" smtClean="0">
              <a:solidFill>
                <a:srgbClr val="000000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67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will you learn today?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97571" y="637811"/>
            <a:ext cx="8278244" cy="3191082"/>
          </a:xfrm>
        </p:spPr>
        <p:txBody>
          <a:bodyPr/>
          <a:lstStyle/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en-US" sz="1400" dirty="0" smtClean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What is Big Data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doop: A synonym for Big Data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doop High Availability</a:t>
            </a: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doop as a Data Warehouse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nds-On: Achieving NameNode and YARN high availability</a:t>
            </a:r>
          </a:p>
          <a:p>
            <a:pPr marL="285750" lvl="1" indent="-285750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Hands-On: Securing through ACL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 …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Questions/Queries/Feedback</a:t>
            </a:r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0" name="Group 9"/>
          <p:cNvGrpSpPr/>
          <p:nvPr/>
        </p:nvGrpSpPr>
        <p:grpSpPr>
          <a:xfrm>
            <a:off x="985900" y="818697"/>
            <a:ext cx="7562652" cy="4120520"/>
            <a:chOff x="827470" y="1068042"/>
            <a:chExt cx="9360789" cy="5269454"/>
          </a:xfrm>
        </p:grpSpPr>
        <p:sp>
          <p:nvSpPr>
            <p:cNvPr id="11" name="Rounded Rectangle 10"/>
            <p:cNvSpPr/>
            <p:nvPr/>
          </p:nvSpPr>
          <p:spPr>
            <a:xfrm>
              <a:off x="2511380" y="3520561"/>
              <a:ext cx="1468192" cy="682580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NN Active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823656" y="3520561"/>
              <a:ext cx="1468192" cy="682580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NN Standby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691685" y="5164428"/>
              <a:ext cx="5600163" cy="8242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949262" y="5331854"/>
              <a:ext cx="1030310" cy="566670"/>
            </a:xfrm>
            <a:prstGeom prst="flowChartMagneticDisk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DN 1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4144851" y="5331854"/>
              <a:ext cx="1030310" cy="566670"/>
            </a:xfrm>
            <a:prstGeom prst="flowChartMagneticDisk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DN 2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6939566" y="5331854"/>
              <a:ext cx="1030310" cy="566670"/>
            </a:xfrm>
            <a:prstGeom prst="flowChartMagneticDisk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DN n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>
              <a:off x="5471374" y="5615189"/>
              <a:ext cx="1249251" cy="0"/>
            </a:xfrm>
            <a:prstGeom prst="line">
              <a:avLst/>
            </a:prstGeom>
            <a:ln w="38100"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/>
            <p:cNvGrpSpPr/>
            <p:nvPr/>
          </p:nvGrpSpPr>
          <p:grpSpPr>
            <a:xfrm>
              <a:off x="4735166" y="2373394"/>
              <a:ext cx="1304432" cy="990010"/>
              <a:chOff x="4580618" y="2373394"/>
              <a:chExt cx="1304432" cy="990010"/>
            </a:xfrm>
            <a:solidFill>
              <a:schemeClr val="accent2">
                <a:lumMod val="75000"/>
              </a:schemeClr>
            </a:solidFill>
          </p:grpSpPr>
          <p:sp>
            <p:nvSpPr>
              <p:cNvPr id="43" name="Flowchart: Magnetic Disk 42"/>
              <p:cNvSpPr/>
              <p:nvPr/>
            </p:nvSpPr>
            <p:spPr>
              <a:xfrm>
                <a:off x="4580618" y="2373394"/>
                <a:ext cx="1215406" cy="70667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Flowchart: Magnetic Disk 43"/>
              <p:cNvSpPr/>
              <p:nvPr/>
            </p:nvSpPr>
            <p:spPr>
              <a:xfrm>
                <a:off x="4669643" y="2656729"/>
                <a:ext cx="1215407" cy="70667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 smtClean="0">
                    <a:solidFill>
                      <a:schemeClr val="bg1"/>
                    </a:solidFill>
                  </a:rPr>
                  <a:t>Shared storage</a:t>
                </a:r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19" name="Straight Arrow Connector 18"/>
            <p:cNvCxnSpPr>
              <a:stCxn id="11" idx="3"/>
            </p:cNvCxnSpPr>
            <p:nvPr/>
          </p:nvCxnSpPr>
          <p:spPr>
            <a:xfrm flipV="1">
              <a:off x="3979572" y="3385131"/>
              <a:ext cx="1195589" cy="47672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>
              <a:stCxn id="12" idx="1"/>
            </p:cNvCxnSpPr>
            <p:nvPr/>
          </p:nvCxnSpPr>
          <p:spPr>
            <a:xfrm flipH="1" flipV="1">
              <a:off x="5728954" y="3385132"/>
              <a:ext cx="1094702" cy="476719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Snip Single Corner Rectangle 20"/>
            <p:cNvSpPr/>
            <p:nvPr/>
          </p:nvSpPr>
          <p:spPr>
            <a:xfrm>
              <a:off x="1590712" y="2105004"/>
              <a:ext cx="2004111" cy="839474"/>
            </a:xfrm>
            <a:prstGeom prst="snip1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Failover Controller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Active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arallelogram 21"/>
            <p:cNvSpPr/>
            <p:nvPr/>
          </p:nvSpPr>
          <p:spPr>
            <a:xfrm>
              <a:off x="3837904" y="1068946"/>
              <a:ext cx="739462" cy="528034"/>
            </a:xfrm>
            <a:prstGeom prst="parallelogram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ZK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Parallelogram 22"/>
            <p:cNvSpPr/>
            <p:nvPr/>
          </p:nvSpPr>
          <p:spPr>
            <a:xfrm>
              <a:off x="4731912" y="1068042"/>
              <a:ext cx="739462" cy="528034"/>
            </a:xfrm>
            <a:prstGeom prst="parallelogram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ZK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" name="Parallelogram 23"/>
            <p:cNvSpPr/>
            <p:nvPr/>
          </p:nvSpPr>
          <p:spPr>
            <a:xfrm>
              <a:off x="6268792" y="1068042"/>
              <a:ext cx="739462" cy="528034"/>
            </a:xfrm>
            <a:prstGeom prst="parallelogram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ZK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5574405" y="1332059"/>
              <a:ext cx="521594" cy="0"/>
            </a:xfrm>
            <a:prstGeom prst="line">
              <a:avLst/>
            </a:prstGeom>
            <a:ln w="38100"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/>
            <p:nvPr/>
          </p:nvCxnSpPr>
          <p:spPr>
            <a:xfrm flipV="1">
              <a:off x="2883458" y="1500740"/>
              <a:ext cx="888643" cy="522952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/>
            <p:nvPr/>
          </p:nvCxnSpPr>
          <p:spPr>
            <a:xfrm flipH="1" flipV="1">
              <a:off x="7014697" y="1405559"/>
              <a:ext cx="790975" cy="500513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3080868" y="2930689"/>
              <a:ext cx="444321" cy="590415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 flipH="1">
              <a:off x="7385079" y="2852870"/>
              <a:ext cx="420593" cy="608302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ight Arrow 29"/>
            <p:cNvSpPr/>
            <p:nvPr/>
          </p:nvSpPr>
          <p:spPr>
            <a:xfrm rot="13024687">
              <a:off x="3251616" y="4521832"/>
              <a:ext cx="1026769" cy="317343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1" name="Right Arrow 30"/>
            <p:cNvSpPr/>
            <p:nvPr/>
          </p:nvSpPr>
          <p:spPr>
            <a:xfrm rot="19198917">
              <a:off x="6806746" y="4509125"/>
              <a:ext cx="1026769" cy="317343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2" name="Bent Arrow 31"/>
            <p:cNvSpPr/>
            <p:nvPr/>
          </p:nvSpPr>
          <p:spPr>
            <a:xfrm rot="10800000" flipH="1">
              <a:off x="1944986" y="2958559"/>
              <a:ext cx="493693" cy="1125090"/>
            </a:xfrm>
            <a:prstGeom prst="ben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3" name="Snip Single Corner Rectangle 32"/>
            <p:cNvSpPr/>
            <p:nvPr/>
          </p:nvSpPr>
          <p:spPr>
            <a:xfrm>
              <a:off x="7217098" y="1996225"/>
              <a:ext cx="2023628" cy="785084"/>
            </a:xfrm>
            <a:prstGeom prst="snip1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Failover Controller Standby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Bent Arrow 33"/>
            <p:cNvSpPr/>
            <p:nvPr/>
          </p:nvSpPr>
          <p:spPr>
            <a:xfrm rot="10800000">
              <a:off x="8390586" y="2822587"/>
              <a:ext cx="493690" cy="1125090"/>
            </a:xfrm>
            <a:prstGeom prst="ben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068191" y="1418663"/>
              <a:ext cx="1357592" cy="432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Heartbeat</a:t>
              </a:r>
              <a:endParaRPr lang="en-US" sz="1600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7489065" y="1418663"/>
              <a:ext cx="1330521" cy="3935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Heartbeat</a:t>
              </a:r>
              <a:endParaRPr lang="en-US" sz="1400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9058142" y="2905257"/>
              <a:ext cx="113011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Monitors NN’s Health</a:t>
              </a:r>
              <a:endParaRPr lang="en-US" sz="1600" dirty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827470" y="2899721"/>
              <a:ext cx="113011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Monitors NN’s Health</a:t>
              </a:r>
              <a:endParaRPr lang="en-US" sz="1600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834699" y="4451111"/>
              <a:ext cx="3425779" cy="5903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/>
                <a:t>Block Reports to Active and standby NN: Update </a:t>
              </a:r>
              <a:r>
                <a:rPr lang="en-US" sz="1200" dirty="0" err="1" smtClean="0"/>
                <a:t>cmds</a:t>
              </a:r>
              <a:r>
                <a:rPr lang="en-US" sz="1200" dirty="0" smtClean="0"/>
                <a:t> from one</a:t>
              </a:r>
              <a:endParaRPr lang="en-US" sz="1200" dirty="0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715368" y="3454575"/>
              <a:ext cx="1902320" cy="944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 smtClean="0"/>
                <a:t>Sharead</a:t>
              </a:r>
              <a:r>
                <a:rPr lang="en-US" sz="1400" dirty="0" smtClean="0"/>
                <a:t> NN state with single writer</a:t>
              </a:r>
            </a:p>
            <a:p>
              <a:r>
                <a:rPr lang="en-US" sz="1400" dirty="0" smtClean="0"/>
                <a:t>(fencing)</a:t>
              </a:r>
              <a:endParaRPr lang="en-US" sz="1400" dirty="0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4152096" y="5998942"/>
              <a:ext cx="342578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/>
                <a:t>HDFS</a:t>
              </a:r>
              <a:endParaRPr lang="en-US" sz="1600" dirty="0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100325" y="2857596"/>
              <a:ext cx="113011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 smtClean="0"/>
                <a:t>Cmds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5466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6" name="Rectangle 125"/>
          <p:cNvSpPr/>
          <p:nvPr/>
        </p:nvSpPr>
        <p:spPr>
          <a:xfrm>
            <a:off x="1035543" y="3593805"/>
            <a:ext cx="7586056" cy="815112"/>
          </a:xfrm>
          <a:prstGeom prst="rect">
            <a:avLst/>
          </a:prstGeom>
          <a:solidFill>
            <a:srgbClr val="E7E6E6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7" name="Group 126"/>
          <p:cNvGrpSpPr/>
          <p:nvPr/>
        </p:nvGrpSpPr>
        <p:grpSpPr>
          <a:xfrm>
            <a:off x="1243523" y="3626199"/>
            <a:ext cx="1941268" cy="686078"/>
            <a:chOff x="2006958" y="4108361"/>
            <a:chExt cx="2094963" cy="978794"/>
          </a:xfrm>
        </p:grpSpPr>
        <p:sp>
          <p:nvSpPr>
            <p:cNvPr id="128" name="Oval 127"/>
            <p:cNvSpPr/>
            <p:nvPr/>
          </p:nvSpPr>
          <p:spPr>
            <a:xfrm>
              <a:off x="2582214" y="4108361"/>
              <a:ext cx="1519707" cy="978794"/>
            </a:xfrm>
            <a:prstGeom prst="ellipse">
              <a:avLst/>
            </a:prstGeom>
            <a:solidFill>
              <a:srgbClr val="ED7D31">
                <a:lumMod val="50000"/>
              </a:srgb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ooKeeper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Oval 128"/>
            <p:cNvSpPr/>
            <p:nvPr/>
          </p:nvSpPr>
          <p:spPr>
            <a:xfrm>
              <a:off x="2006958" y="4649273"/>
              <a:ext cx="1150512" cy="437882"/>
            </a:xfrm>
            <a:prstGeom prst="ellipse">
              <a:avLst/>
            </a:prstGeom>
            <a:solidFill>
              <a:srgbClr val="5B9BD5">
                <a:lumMod val="50000"/>
              </a:srgb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MState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6438002" y="3626199"/>
            <a:ext cx="1941268" cy="686078"/>
            <a:chOff x="7201437" y="4108361"/>
            <a:chExt cx="2094963" cy="978794"/>
          </a:xfrm>
        </p:grpSpPr>
        <p:sp>
          <p:nvSpPr>
            <p:cNvPr id="131" name="Oval 130"/>
            <p:cNvSpPr/>
            <p:nvPr/>
          </p:nvSpPr>
          <p:spPr>
            <a:xfrm>
              <a:off x="7776693" y="4108361"/>
              <a:ext cx="1519707" cy="978794"/>
            </a:xfrm>
            <a:prstGeom prst="ellipse">
              <a:avLst/>
            </a:prstGeom>
            <a:solidFill>
              <a:srgbClr val="ED7D31">
                <a:lumMod val="50000"/>
              </a:srgb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ooKeeper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Oval 131"/>
            <p:cNvSpPr/>
            <p:nvPr/>
          </p:nvSpPr>
          <p:spPr>
            <a:xfrm>
              <a:off x="7201437" y="4649273"/>
              <a:ext cx="1150512" cy="437882"/>
            </a:xfrm>
            <a:prstGeom prst="ellipse">
              <a:avLst/>
            </a:prstGeom>
            <a:solidFill>
              <a:srgbClr val="5B9BD5">
                <a:lumMod val="50000"/>
              </a:srgb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MState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3" name="Right Arrow 132"/>
          <p:cNvSpPr/>
          <p:nvPr/>
        </p:nvSpPr>
        <p:spPr>
          <a:xfrm>
            <a:off x="4011653" y="1829876"/>
            <a:ext cx="1026326" cy="180546"/>
          </a:xfrm>
          <a:prstGeom prst="rightArrow">
            <a:avLst/>
          </a:prstGeom>
          <a:solidFill>
            <a:srgbClr val="70AD47">
              <a:lumMod val="75000"/>
            </a:srgbClr>
          </a:solidFill>
          <a:ln w="12700" cap="flat" cmpd="sng" algn="ctr">
            <a:solidFill>
              <a:srgbClr val="70AD47">
                <a:lumMod val="75000"/>
              </a:srgbClr>
            </a:solidFill>
            <a:prstDash val="solid"/>
            <a:miter lim="800000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1340119" y="1167063"/>
            <a:ext cx="2515092" cy="1209664"/>
            <a:chOff x="1603420" y="1249251"/>
            <a:chExt cx="2714220" cy="1725769"/>
          </a:xfrm>
        </p:grpSpPr>
        <p:sp>
          <p:nvSpPr>
            <p:cNvPr id="135" name="Isosceles Triangle 134"/>
            <p:cNvSpPr/>
            <p:nvPr/>
          </p:nvSpPr>
          <p:spPr>
            <a:xfrm>
              <a:off x="2472744" y="1249251"/>
              <a:ext cx="1738648" cy="1493949"/>
            </a:xfrm>
            <a:prstGeom prst="triangle">
              <a:avLst/>
            </a:prstGeom>
            <a:solidFill>
              <a:srgbClr val="4472C4">
                <a:lumMod val="75000"/>
              </a:srgb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1603420" y="2614412"/>
              <a:ext cx="1738648" cy="360608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KFC</a:t>
              </a:r>
            </a:p>
          </p:txBody>
        </p:sp>
        <p:sp>
          <p:nvSpPr>
            <p:cNvPr id="137" name="Multiply 136"/>
            <p:cNvSpPr/>
            <p:nvPr/>
          </p:nvSpPr>
          <p:spPr>
            <a:xfrm>
              <a:off x="2746419" y="1599942"/>
              <a:ext cx="1191293" cy="914398"/>
            </a:xfrm>
            <a:prstGeom prst="mathMultiply">
              <a:avLst/>
            </a:prstGeom>
            <a:solidFill>
              <a:srgbClr val="C00000"/>
            </a:solidFill>
            <a:ln w="1270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2366492" y="2186923"/>
              <a:ext cx="1951148" cy="6147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Resource Manage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Active</a:t>
              </a: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5198835" y="1198960"/>
            <a:ext cx="2552296" cy="1209664"/>
            <a:chOff x="6907369" y="1249251"/>
            <a:chExt cx="2754370" cy="1725769"/>
          </a:xfrm>
        </p:grpSpPr>
        <p:sp>
          <p:nvSpPr>
            <p:cNvPr id="140" name="Isosceles Triangle 139"/>
            <p:cNvSpPr/>
            <p:nvPr/>
          </p:nvSpPr>
          <p:spPr>
            <a:xfrm>
              <a:off x="7776693" y="1249251"/>
              <a:ext cx="1738648" cy="1493949"/>
            </a:xfrm>
            <a:prstGeom prst="triangle">
              <a:avLst/>
            </a:prstGeom>
            <a:solidFill>
              <a:srgbClr val="4472C4">
                <a:lumMod val="75000"/>
              </a:srgb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6907369" y="2614412"/>
              <a:ext cx="1738648" cy="360608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KFC</a:t>
              </a: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7693388" y="1768589"/>
              <a:ext cx="1968351" cy="9220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Resourc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Manage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Passive</a:t>
              </a:r>
            </a:p>
          </p:txBody>
        </p:sp>
      </p:grpSp>
      <p:sp>
        <p:nvSpPr>
          <p:cNvPr id="143" name="TextBox 142"/>
          <p:cNvSpPr txBox="1"/>
          <p:nvPr/>
        </p:nvSpPr>
        <p:spPr>
          <a:xfrm>
            <a:off x="2954624" y="2772551"/>
            <a:ext cx="2872120" cy="646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. Active Node stores all state in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ZKStor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1272508" y="1498549"/>
            <a:ext cx="1109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. Failure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3903344" y="1473370"/>
            <a:ext cx="12109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. Failover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6815393" y="2257866"/>
            <a:ext cx="16906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. Standby Nod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ecome active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446567" y="2138066"/>
            <a:ext cx="14460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. ZKFC Detect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ailure</a:t>
            </a:r>
          </a:p>
        </p:txBody>
      </p:sp>
      <p:cxnSp>
        <p:nvCxnSpPr>
          <p:cNvPr id="148" name="Straight Connector 147"/>
          <p:cNvCxnSpPr/>
          <p:nvPr/>
        </p:nvCxnSpPr>
        <p:spPr>
          <a:xfrm>
            <a:off x="3899142" y="4020753"/>
            <a:ext cx="1712002" cy="0"/>
          </a:xfrm>
          <a:prstGeom prst="line">
            <a:avLst/>
          </a:prstGeom>
          <a:noFill/>
          <a:ln w="38100" cap="flat" cmpd="sng" algn="ctr">
            <a:solidFill>
              <a:srgbClr val="ED7D31">
                <a:lumMod val="75000"/>
              </a:srgbClr>
            </a:solidFill>
            <a:prstDash val="dash"/>
            <a:miter lim="800000"/>
          </a:ln>
          <a:effectLst/>
        </p:spPr>
      </p:cxnSp>
      <p:sp>
        <p:nvSpPr>
          <p:cNvPr id="152" name="Right Arrow 151"/>
          <p:cNvSpPr/>
          <p:nvPr/>
        </p:nvSpPr>
        <p:spPr>
          <a:xfrm rot="5400000">
            <a:off x="2043170" y="2883146"/>
            <a:ext cx="1116421" cy="304902"/>
          </a:xfrm>
          <a:prstGeom prst="rightArrow">
            <a:avLst/>
          </a:prstGeom>
          <a:solidFill>
            <a:srgbClr val="70AD47">
              <a:lumMod val="75000"/>
            </a:srgbClr>
          </a:solidFill>
          <a:ln w="12700" cap="flat" cmpd="sng" algn="ctr">
            <a:solidFill>
              <a:srgbClr val="70AD47">
                <a:lumMod val="75000"/>
              </a:srgbClr>
            </a:solidFill>
            <a:prstDash val="solid"/>
            <a:miter lim="800000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33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27" name="Group 126"/>
          <p:cNvGrpSpPr/>
          <p:nvPr/>
        </p:nvGrpSpPr>
        <p:grpSpPr>
          <a:xfrm>
            <a:off x="265814" y="744279"/>
            <a:ext cx="8428467" cy="3758185"/>
            <a:chOff x="326622" y="592731"/>
            <a:chExt cx="9539259" cy="5387156"/>
          </a:xfrm>
        </p:grpSpPr>
        <p:sp>
          <p:nvSpPr>
            <p:cNvPr id="128" name="TextBox 127"/>
            <p:cNvSpPr txBox="1"/>
            <p:nvPr/>
          </p:nvSpPr>
          <p:spPr>
            <a:xfrm>
              <a:off x="326622" y="3138318"/>
              <a:ext cx="18534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Monitor liveness &amp; heath</a:t>
              </a:r>
            </a:p>
          </p:txBody>
        </p:sp>
        <p:grpSp>
          <p:nvGrpSpPr>
            <p:cNvPr id="129" name="Group 128"/>
            <p:cNvGrpSpPr/>
            <p:nvPr/>
          </p:nvGrpSpPr>
          <p:grpSpPr>
            <a:xfrm>
              <a:off x="822894" y="592731"/>
              <a:ext cx="9042987" cy="5387156"/>
              <a:chOff x="808380" y="592731"/>
              <a:chExt cx="9042987" cy="5387156"/>
            </a:xfrm>
          </p:grpSpPr>
          <p:grpSp>
            <p:nvGrpSpPr>
              <p:cNvPr id="130" name="Group 129"/>
              <p:cNvGrpSpPr/>
              <p:nvPr/>
            </p:nvGrpSpPr>
            <p:grpSpPr>
              <a:xfrm>
                <a:off x="1320159" y="592731"/>
                <a:ext cx="7680373" cy="5387156"/>
                <a:chOff x="159016" y="1303931"/>
                <a:chExt cx="7680373" cy="5387156"/>
              </a:xfrm>
            </p:grpSpPr>
            <p:sp>
              <p:nvSpPr>
                <p:cNvPr id="137" name="Rectangle 136"/>
                <p:cNvSpPr/>
                <p:nvPr/>
              </p:nvSpPr>
              <p:spPr>
                <a:xfrm>
                  <a:off x="1970468" y="1352282"/>
                  <a:ext cx="3966693" cy="1674253"/>
                </a:xfrm>
                <a:prstGeom prst="rect">
                  <a:avLst/>
                </a:prstGeom>
                <a:solidFill>
                  <a:sysClr val="window" lastClr="FFFFFF"/>
                </a:solidFill>
                <a:ln w="38100" cap="flat" cmpd="sng" algn="ctr">
                  <a:solidFill>
                    <a:srgbClr val="5B9BD5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Rectangle 137"/>
                <p:cNvSpPr/>
                <p:nvPr/>
              </p:nvSpPr>
              <p:spPr>
                <a:xfrm>
                  <a:off x="1970468" y="3714482"/>
                  <a:ext cx="3966693" cy="1674253"/>
                </a:xfrm>
                <a:prstGeom prst="rect">
                  <a:avLst/>
                </a:prstGeom>
                <a:solidFill>
                  <a:sysClr val="window" lastClr="FFFFFF"/>
                </a:solidFill>
                <a:ln w="38100" cap="flat" cmpd="sng" algn="ctr">
                  <a:solidFill>
                    <a:srgbClr val="5B9BD5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39" name="Group 138"/>
                <p:cNvGrpSpPr/>
                <p:nvPr/>
              </p:nvGrpSpPr>
              <p:grpSpPr>
                <a:xfrm>
                  <a:off x="2264534" y="1738648"/>
                  <a:ext cx="1431703" cy="450760"/>
                  <a:chOff x="2264534" y="1738648"/>
                  <a:chExt cx="1431703" cy="450760"/>
                </a:xfrm>
              </p:grpSpPr>
              <p:grpSp>
                <p:nvGrpSpPr>
                  <p:cNvPr id="242" name="Group 241"/>
                  <p:cNvGrpSpPr/>
                  <p:nvPr/>
                </p:nvGrpSpPr>
                <p:grpSpPr>
                  <a:xfrm>
                    <a:off x="2264534" y="1738648"/>
                    <a:ext cx="1431703" cy="450760"/>
                    <a:chOff x="2264534" y="1738648"/>
                    <a:chExt cx="1431703" cy="450760"/>
                  </a:xfrm>
                </p:grpSpPr>
                <p:sp>
                  <p:nvSpPr>
                    <p:cNvPr id="244" name="Rectangle 243"/>
                    <p:cNvSpPr/>
                    <p:nvPr/>
                  </p:nvSpPr>
                  <p:spPr>
                    <a:xfrm>
                      <a:off x="2266682" y="1738648"/>
                      <a:ext cx="1429555" cy="45076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12700" cap="flat" cmpd="sng" algn="ctr">
                      <a:solidFill>
                        <a:srgbClr val="5B9BD5">
                          <a:lumMod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" name="Rectangle 244"/>
                    <p:cNvSpPr/>
                    <p:nvPr/>
                  </p:nvSpPr>
                  <p:spPr>
                    <a:xfrm>
                      <a:off x="2266682" y="1738648"/>
                      <a:ext cx="244698" cy="283335"/>
                    </a:xfrm>
                    <a:prstGeom prst="rect">
                      <a:avLst/>
                    </a:prstGeom>
                    <a:solidFill>
                      <a:srgbClr val="5B9BD5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cxnSp>
                  <p:nvCxnSpPr>
                    <p:cNvPr id="246" name="Straight Connector 245"/>
                    <p:cNvCxnSpPr/>
                    <p:nvPr/>
                  </p:nvCxnSpPr>
                  <p:spPr>
                    <a:xfrm>
                      <a:off x="2266682" y="1815921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47" name="Straight Connector 246"/>
                    <p:cNvCxnSpPr/>
                    <p:nvPr/>
                  </p:nvCxnSpPr>
                  <p:spPr>
                    <a:xfrm>
                      <a:off x="2264534" y="1868642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48" name="Straight Connector 247"/>
                    <p:cNvCxnSpPr/>
                    <p:nvPr/>
                  </p:nvCxnSpPr>
                  <p:spPr>
                    <a:xfrm>
                      <a:off x="2266670" y="1915928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49" name="Straight Connector 248"/>
                    <p:cNvCxnSpPr/>
                    <p:nvPr/>
                  </p:nvCxnSpPr>
                  <p:spPr>
                    <a:xfrm>
                      <a:off x="2269285" y="1968649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</p:grpSp>
              <p:sp>
                <p:nvSpPr>
                  <p:cNvPr id="243" name="Rectangle 242"/>
                  <p:cNvSpPr/>
                  <p:nvPr/>
                </p:nvSpPr>
                <p:spPr>
                  <a:xfrm>
                    <a:off x="2567737" y="1822132"/>
                    <a:ext cx="1083878" cy="315061"/>
                  </a:xfrm>
                  <a:prstGeom prst="rect">
                    <a:avLst/>
                  </a:prstGeom>
                  <a:solidFill>
                    <a:srgbClr val="5B9BD5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zookeeper</a:t>
                    </a:r>
                  </a:p>
                </p:txBody>
              </p:sp>
            </p:grpSp>
            <p:grpSp>
              <p:nvGrpSpPr>
                <p:cNvPr id="140" name="Group 139"/>
                <p:cNvGrpSpPr/>
                <p:nvPr/>
              </p:nvGrpSpPr>
              <p:grpSpPr>
                <a:xfrm>
                  <a:off x="2264534" y="4100848"/>
                  <a:ext cx="1431703" cy="450760"/>
                  <a:chOff x="2264534" y="4100848"/>
                  <a:chExt cx="1431703" cy="450760"/>
                </a:xfrm>
              </p:grpSpPr>
              <p:grpSp>
                <p:nvGrpSpPr>
                  <p:cNvPr id="234" name="Group 233"/>
                  <p:cNvGrpSpPr/>
                  <p:nvPr/>
                </p:nvGrpSpPr>
                <p:grpSpPr>
                  <a:xfrm>
                    <a:off x="2264534" y="4100848"/>
                    <a:ext cx="1431703" cy="450760"/>
                    <a:chOff x="2264534" y="1738648"/>
                    <a:chExt cx="1431703" cy="450760"/>
                  </a:xfrm>
                </p:grpSpPr>
                <p:sp>
                  <p:nvSpPr>
                    <p:cNvPr id="236" name="Rectangle 235"/>
                    <p:cNvSpPr/>
                    <p:nvPr/>
                  </p:nvSpPr>
                  <p:spPr>
                    <a:xfrm>
                      <a:off x="2266682" y="1738648"/>
                      <a:ext cx="1429555" cy="45076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12700" cap="flat" cmpd="sng" algn="ctr">
                      <a:solidFill>
                        <a:srgbClr val="5B9BD5">
                          <a:lumMod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7" name="Rectangle 236"/>
                    <p:cNvSpPr/>
                    <p:nvPr/>
                  </p:nvSpPr>
                  <p:spPr>
                    <a:xfrm>
                      <a:off x="2266682" y="1738648"/>
                      <a:ext cx="244698" cy="283335"/>
                    </a:xfrm>
                    <a:prstGeom prst="rect">
                      <a:avLst/>
                    </a:prstGeom>
                    <a:solidFill>
                      <a:srgbClr val="5B9BD5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cxnSp>
                  <p:nvCxnSpPr>
                    <p:cNvPr id="238" name="Straight Connector 237"/>
                    <p:cNvCxnSpPr/>
                    <p:nvPr/>
                  </p:nvCxnSpPr>
                  <p:spPr>
                    <a:xfrm>
                      <a:off x="2266682" y="1815921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39" name="Straight Connector 238"/>
                    <p:cNvCxnSpPr/>
                    <p:nvPr/>
                  </p:nvCxnSpPr>
                  <p:spPr>
                    <a:xfrm>
                      <a:off x="2264534" y="1868642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40" name="Straight Connector 239"/>
                    <p:cNvCxnSpPr/>
                    <p:nvPr/>
                  </p:nvCxnSpPr>
                  <p:spPr>
                    <a:xfrm>
                      <a:off x="2266670" y="1915928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41" name="Straight Connector 240"/>
                    <p:cNvCxnSpPr/>
                    <p:nvPr/>
                  </p:nvCxnSpPr>
                  <p:spPr>
                    <a:xfrm>
                      <a:off x="2269285" y="1968649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</p:grpSp>
              <p:sp>
                <p:nvSpPr>
                  <p:cNvPr id="235" name="Rectangle 234"/>
                  <p:cNvSpPr/>
                  <p:nvPr/>
                </p:nvSpPr>
                <p:spPr>
                  <a:xfrm>
                    <a:off x="2567739" y="4184518"/>
                    <a:ext cx="1095912" cy="304080"/>
                  </a:xfrm>
                  <a:prstGeom prst="rect">
                    <a:avLst/>
                  </a:prstGeom>
                  <a:solidFill>
                    <a:srgbClr val="5B9BD5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Journal Node</a:t>
                    </a:r>
                  </a:p>
                </p:txBody>
              </p:sp>
            </p:grpSp>
            <p:grpSp>
              <p:nvGrpSpPr>
                <p:cNvPr id="141" name="Group 140"/>
                <p:cNvGrpSpPr/>
                <p:nvPr/>
              </p:nvGrpSpPr>
              <p:grpSpPr>
                <a:xfrm>
                  <a:off x="4119603" y="1742419"/>
                  <a:ext cx="1431703" cy="450760"/>
                  <a:chOff x="2264534" y="1738648"/>
                  <a:chExt cx="1431703" cy="450760"/>
                </a:xfrm>
              </p:grpSpPr>
              <p:grpSp>
                <p:nvGrpSpPr>
                  <p:cNvPr id="226" name="Group 225"/>
                  <p:cNvGrpSpPr/>
                  <p:nvPr/>
                </p:nvGrpSpPr>
                <p:grpSpPr>
                  <a:xfrm>
                    <a:off x="2264534" y="1738648"/>
                    <a:ext cx="1431703" cy="450760"/>
                    <a:chOff x="2264534" y="1738648"/>
                    <a:chExt cx="1431703" cy="450760"/>
                  </a:xfrm>
                </p:grpSpPr>
                <p:sp>
                  <p:nvSpPr>
                    <p:cNvPr id="228" name="Rectangle 227"/>
                    <p:cNvSpPr/>
                    <p:nvPr/>
                  </p:nvSpPr>
                  <p:spPr>
                    <a:xfrm>
                      <a:off x="2266682" y="1738648"/>
                      <a:ext cx="1429555" cy="45076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12700" cap="flat" cmpd="sng" algn="ctr">
                      <a:solidFill>
                        <a:srgbClr val="5B9BD5">
                          <a:lumMod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9" name="Rectangle 228"/>
                    <p:cNvSpPr/>
                    <p:nvPr/>
                  </p:nvSpPr>
                  <p:spPr>
                    <a:xfrm>
                      <a:off x="2266682" y="1738648"/>
                      <a:ext cx="244698" cy="283335"/>
                    </a:xfrm>
                    <a:prstGeom prst="rect">
                      <a:avLst/>
                    </a:prstGeom>
                    <a:solidFill>
                      <a:srgbClr val="5B9BD5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cxnSp>
                  <p:nvCxnSpPr>
                    <p:cNvPr id="230" name="Straight Connector 229"/>
                    <p:cNvCxnSpPr/>
                    <p:nvPr/>
                  </p:nvCxnSpPr>
                  <p:spPr>
                    <a:xfrm>
                      <a:off x="2266682" y="1815921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31" name="Straight Connector 230"/>
                    <p:cNvCxnSpPr/>
                    <p:nvPr/>
                  </p:nvCxnSpPr>
                  <p:spPr>
                    <a:xfrm>
                      <a:off x="2264534" y="1868642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32" name="Straight Connector 231"/>
                    <p:cNvCxnSpPr/>
                    <p:nvPr/>
                  </p:nvCxnSpPr>
                  <p:spPr>
                    <a:xfrm>
                      <a:off x="2266670" y="1915928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33" name="Straight Connector 232"/>
                    <p:cNvCxnSpPr/>
                    <p:nvPr/>
                  </p:nvCxnSpPr>
                  <p:spPr>
                    <a:xfrm>
                      <a:off x="2269285" y="1968649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</p:grpSp>
              <p:sp>
                <p:nvSpPr>
                  <p:cNvPr id="227" name="Rectangle 226"/>
                  <p:cNvSpPr/>
                  <p:nvPr/>
                </p:nvSpPr>
                <p:spPr>
                  <a:xfrm>
                    <a:off x="2567738" y="1818360"/>
                    <a:ext cx="1082018" cy="304824"/>
                  </a:xfrm>
                  <a:prstGeom prst="rect">
                    <a:avLst/>
                  </a:prstGeom>
                  <a:solidFill>
                    <a:srgbClr val="5B9BD5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zookeeper</a:t>
                    </a:r>
                  </a:p>
                </p:txBody>
              </p:sp>
            </p:grpSp>
            <p:grpSp>
              <p:nvGrpSpPr>
                <p:cNvPr id="142" name="Group 141"/>
                <p:cNvGrpSpPr/>
                <p:nvPr/>
              </p:nvGrpSpPr>
              <p:grpSpPr>
                <a:xfrm>
                  <a:off x="3237962" y="2334981"/>
                  <a:ext cx="1431703" cy="450760"/>
                  <a:chOff x="2264534" y="1738648"/>
                  <a:chExt cx="1431703" cy="450760"/>
                </a:xfrm>
              </p:grpSpPr>
              <p:grpSp>
                <p:nvGrpSpPr>
                  <p:cNvPr id="218" name="Group 217"/>
                  <p:cNvGrpSpPr/>
                  <p:nvPr/>
                </p:nvGrpSpPr>
                <p:grpSpPr>
                  <a:xfrm>
                    <a:off x="2264534" y="1738648"/>
                    <a:ext cx="1431703" cy="450760"/>
                    <a:chOff x="2264534" y="1738648"/>
                    <a:chExt cx="1431703" cy="450760"/>
                  </a:xfrm>
                </p:grpSpPr>
                <p:sp>
                  <p:nvSpPr>
                    <p:cNvPr id="220" name="Rectangle 219"/>
                    <p:cNvSpPr/>
                    <p:nvPr/>
                  </p:nvSpPr>
                  <p:spPr>
                    <a:xfrm>
                      <a:off x="2266682" y="1738648"/>
                      <a:ext cx="1429555" cy="45076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12700" cap="flat" cmpd="sng" algn="ctr">
                      <a:solidFill>
                        <a:srgbClr val="5B9BD5">
                          <a:lumMod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1" name="Rectangle 220"/>
                    <p:cNvSpPr/>
                    <p:nvPr/>
                  </p:nvSpPr>
                  <p:spPr>
                    <a:xfrm>
                      <a:off x="2266682" y="1738648"/>
                      <a:ext cx="244698" cy="283335"/>
                    </a:xfrm>
                    <a:prstGeom prst="rect">
                      <a:avLst/>
                    </a:prstGeom>
                    <a:solidFill>
                      <a:srgbClr val="5B9BD5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cxnSp>
                  <p:nvCxnSpPr>
                    <p:cNvPr id="222" name="Straight Connector 221"/>
                    <p:cNvCxnSpPr/>
                    <p:nvPr/>
                  </p:nvCxnSpPr>
                  <p:spPr>
                    <a:xfrm>
                      <a:off x="2266682" y="1815921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23" name="Straight Connector 222"/>
                    <p:cNvCxnSpPr/>
                    <p:nvPr/>
                  </p:nvCxnSpPr>
                  <p:spPr>
                    <a:xfrm>
                      <a:off x="2264534" y="1868642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24" name="Straight Connector 223"/>
                    <p:cNvCxnSpPr/>
                    <p:nvPr/>
                  </p:nvCxnSpPr>
                  <p:spPr>
                    <a:xfrm>
                      <a:off x="2266670" y="1915928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25" name="Straight Connector 224"/>
                    <p:cNvCxnSpPr/>
                    <p:nvPr/>
                  </p:nvCxnSpPr>
                  <p:spPr>
                    <a:xfrm>
                      <a:off x="2269285" y="1968649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</p:grpSp>
              <p:sp>
                <p:nvSpPr>
                  <p:cNvPr id="219" name="Rectangle 218"/>
                  <p:cNvSpPr/>
                  <p:nvPr/>
                </p:nvSpPr>
                <p:spPr>
                  <a:xfrm>
                    <a:off x="2567738" y="1804965"/>
                    <a:ext cx="1085190" cy="332228"/>
                  </a:xfrm>
                  <a:prstGeom prst="rect">
                    <a:avLst/>
                  </a:prstGeom>
                  <a:solidFill>
                    <a:srgbClr val="5B9BD5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zookeeper</a:t>
                    </a:r>
                  </a:p>
                </p:txBody>
              </p:sp>
            </p:grpSp>
            <p:grpSp>
              <p:nvGrpSpPr>
                <p:cNvPr id="143" name="Group 142"/>
                <p:cNvGrpSpPr/>
                <p:nvPr/>
              </p:nvGrpSpPr>
              <p:grpSpPr>
                <a:xfrm>
                  <a:off x="4121467" y="4096376"/>
                  <a:ext cx="1431703" cy="450760"/>
                  <a:chOff x="2264534" y="4100848"/>
                  <a:chExt cx="1431703" cy="450760"/>
                </a:xfrm>
              </p:grpSpPr>
              <p:grpSp>
                <p:nvGrpSpPr>
                  <p:cNvPr id="210" name="Group 209"/>
                  <p:cNvGrpSpPr/>
                  <p:nvPr/>
                </p:nvGrpSpPr>
                <p:grpSpPr>
                  <a:xfrm>
                    <a:off x="2264534" y="4100848"/>
                    <a:ext cx="1431703" cy="450760"/>
                    <a:chOff x="2264534" y="1738648"/>
                    <a:chExt cx="1431703" cy="450760"/>
                  </a:xfrm>
                </p:grpSpPr>
                <p:sp>
                  <p:nvSpPr>
                    <p:cNvPr id="212" name="Rectangle 211"/>
                    <p:cNvSpPr/>
                    <p:nvPr/>
                  </p:nvSpPr>
                  <p:spPr>
                    <a:xfrm>
                      <a:off x="2266682" y="1738648"/>
                      <a:ext cx="1429555" cy="45076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12700" cap="flat" cmpd="sng" algn="ctr">
                      <a:solidFill>
                        <a:srgbClr val="5B9BD5">
                          <a:lumMod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13" name="Rectangle 212"/>
                    <p:cNvSpPr/>
                    <p:nvPr/>
                  </p:nvSpPr>
                  <p:spPr>
                    <a:xfrm>
                      <a:off x="2266682" y="1738648"/>
                      <a:ext cx="244698" cy="283335"/>
                    </a:xfrm>
                    <a:prstGeom prst="rect">
                      <a:avLst/>
                    </a:prstGeom>
                    <a:solidFill>
                      <a:srgbClr val="5B9BD5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cxnSp>
                  <p:nvCxnSpPr>
                    <p:cNvPr id="214" name="Straight Connector 213"/>
                    <p:cNvCxnSpPr/>
                    <p:nvPr/>
                  </p:nvCxnSpPr>
                  <p:spPr>
                    <a:xfrm>
                      <a:off x="2266682" y="1815921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15" name="Straight Connector 214"/>
                    <p:cNvCxnSpPr/>
                    <p:nvPr/>
                  </p:nvCxnSpPr>
                  <p:spPr>
                    <a:xfrm>
                      <a:off x="2264534" y="1868642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16" name="Straight Connector 215"/>
                    <p:cNvCxnSpPr/>
                    <p:nvPr/>
                  </p:nvCxnSpPr>
                  <p:spPr>
                    <a:xfrm>
                      <a:off x="2266670" y="1915928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17" name="Straight Connector 216"/>
                    <p:cNvCxnSpPr/>
                    <p:nvPr/>
                  </p:nvCxnSpPr>
                  <p:spPr>
                    <a:xfrm>
                      <a:off x="2269285" y="1968649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</p:grpSp>
              <p:sp>
                <p:nvSpPr>
                  <p:cNvPr id="211" name="Rectangle 210"/>
                  <p:cNvSpPr/>
                  <p:nvPr/>
                </p:nvSpPr>
                <p:spPr>
                  <a:xfrm>
                    <a:off x="2567739" y="4158507"/>
                    <a:ext cx="1116256" cy="330091"/>
                  </a:xfrm>
                  <a:prstGeom prst="rect">
                    <a:avLst/>
                  </a:prstGeom>
                  <a:solidFill>
                    <a:srgbClr val="5B9BD5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Journal Node</a:t>
                    </a:r>
                  </a:p>
                </p:txBody>
              </p:sp>
            </p:grpSp>
            <p:grpSp>
              <p:nvGrpSpPr>
                <p:cNvPr id="144" name="Group 143"/>
                <p:cNvGrpSpPr/>
                <p:nvPr/>
              </p:nvGrpSpPr>
              <p:grpSpPr>
                <a:xfrm>
                  <a:off x="3237962" y="4699863"/>
                  <a:ext cx="1431703" cy="450760"/>
                  <a:chOff x="2264534" y="4100848"/>
                  <a:chExt cx="1431703" cy="450760"/>
                </a:xfrm>
              </p:grpSpPr>
              <p:grpSp>
                <p:nvGrpSpPr>
                  <p:cNvPr id="202" name="Group 201"/>
                  <p:cNvGrpSpPr/>
                  <p:nvPr/>
                </p:nvGrpSpPr>
                <p:grpSpPr>
                  <a:xfrm>
                    <a:off x="2264534" y="4100848"/>
                    <a:ext cx="1431703" cy="450760"/>
                    <a:chOff x="2264534" y="1738648"/>
                    <a:chExt cx="1431703" cy="450760"/>
                  </a:xfrm>
                </p:grpSpPr>
                <p:sp>
                  <p:nvSpPr>
                    <p:cNvPr id="204" name="Rectangle 203"/>
                    <p:cNvSpPr/>
                    <p:nvPr/>
                  </p:nvSpPr>
                  <p:spPr>
                    <a:xfrm>
                      <a:off x="2266682" y="1738648"/>
                      <a:ext cx="1429555" cy="45076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12700" cap="flat" cmpd="sng" algn="ctr">
                      <a:solidFill>
                        <a:srgbClr val="5B9BD5">
                          <a:lumMod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5" name="Rectangle 204"/>
                    <p:cNvSpPr/>
                    <p:nvPr/>
                  </p:nvSpPr>
                  <p:spPr>
                    <a:xfrm>
                      <a:off x="2266682" y="1738648"/>
                      <a:ext cx="244698" cy="283335"/>
                    </a:xfrm>
                    <a:prstGeom prst="rect">
                      <a:avLst/>
                    </a:prstGeom>
                    <a:solidFill>
                      <a:srgbClr val="5B9BD5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cxnSp>
                  <p:nvCxnSpPr>
                    <p:cNvPr id="206" name="Straight Connector 205"/>
                    <p:cNvCxnSpPr/>
                    <p:nvPr/>
                  </p:nvCxnSpPr>
                  <p:spPr>
                    <a:xfrm>
                      <a:off x="2266682" y="1815921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07" name="Straight Connector 206"/>
                    <p:cNvCxnSpPr/>
                    <p:nvPr/>
                  </p:nvCxnSpPr>
                  <p:spPr>
                    <a:xfrm>
                      <a:off x="2264534" y="1868642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08" name="Straight Connector 207"/>
                    <p:cNvCxnSpPr/>
                    <p:nvPr/>
                  </p:nvCxnSpPr>
                  <p:spPr>
                    <a:xfrm>
                      <a:off x="2266670" y="1915928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09" name="Straight Connector 208"/>
                    <p:cNvCxnSpPr/>
                    <p:nvPr/>
                  </p:nvCxnSpPr>
                  <p:spPr>
                    <a:xfrm>
                      <a:off x="2269285" y="1968649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</p:grpSp>
              <p:sp>
                <p:nvSpPr>
                  <p:cNvPr id="203" name="Rectangle 202"/>
                  <p:cNvSpPr/>
                  <p:nvPr/>
                </p:nvSpPr>
                <p:spPr>
                  <a:xfrm>
                    <a:off x="2567739" y="4179910"/>
                    <a:ext cx="1121292" cy="308688"/>
                  </a:xfrm>
                  <a:prstGeom prst="rect">
                    <a:avLst/>
                  </a:prstGeom>
                  <a:solidFill>
                    <a:srgbClr val="5B9BD5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Journal Node</a:t>
                    </a:r>
                  </a:p>
                </p:txBody>
              </p:sp>
            </p:grpSp>
            <p:grpSp>
              <p:nvGrpSpPr>
                <p:cNvPr id="145" name="Group 144"/>
                <p:cNvGrpSpPr/>
                <p:nvPr/>
              </p:nvGrpSpPr>
              <p:grpSpPr>
                <a:xfrm>
                  <a:off x="159016" y="3186953"/>
                  <a:ext cx="1434815" cy="325387"/>
                  <a:chOff x="2264534" y="1738648"/>
                  <a:chExt cx="1432514" cy="450760"/>
                </a:xfrm>
              </p:grpSpPr>
              <p:grpSp>
                <p:nvGrpSpPr>
                  <p:cNvPr id="194" name="Group 193"/>
                  <p:cNvGrpSpPr/>
                  <p:nvPr/>
                </p:nvGrpSpPr>
                <p:grpSpPr>
                  <a:xfrm>
                    <a:off x="2264534" y="1738648"/>
                    <a:ext cx="1431703" cy="450760"/>
                    <a:chOff x="2264534" y="1738648"/>
                    <a:chExt cx="1431703" cy="450760"/>
                  </a:xfrm>
                </p:grpSpPr>
                <p:sp>
                  <p:nvSpPr>
                    <p:cNvPr id="196" name="Rectangle 195"/>
                    <p:cNvSpPr/>
                    <p:nvPr/>
                  </p:nvSpPr>
                  <p:spPr>
                    <a:xfrm>
                      <a:off x="2266682" y="1738648"/>
                      <a:ext cx="1429555" cy="45076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12700" cap="flat" cmpd="sng" algn="ctr">
                      <a:solidFill>
                        <a:srgbClr val="5B9BD5">
                          <a:lumMod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" name="Rectangle 196"/>
                    <p:cNvSpPr/>
                    <p:nvPr/>
                  </p:nvSpPr>
                  <p:spPr>
                    <a:xfrm>
                      <a:off x="2266682" y="1738648"/>
                      <a:ext cx="244698" cy="283335"/>
                    </a:xfrm>
                    <a:prstGeom prst="rect">
                      <a:avLst/>
                    </a:prstGeom>
                    <a:solidFill>
                      <a:srgbClr val="5B9BD5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cxnSp>
                  <p:nvCxnSpPr>
                    <p:cNvPr id="198" name="Straight Connector 197"/>
                    <p:cNvCxnSpPr/>
                    <p:nvPr/>
                  </p:nvCxnSpPr>
                  <p:spPr>
                    <a:xfrm>
                      <a:off x="2266682" y="1815921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99" name="Straight Connector 198"/>
                    <p:cNvCxnSpPr/>
                    <p:nvPr/>
                  </p:nvCxnSpPr>
                  <p:spPr>
                    <a:xfrm>
                      <a:off x="2264534" y="1868642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00" name="Straight Connector 199"/>
                    <p:cNvCxnSpPr/>
                    <p:nvPr/>
                  </p:nvCxnSpPr>
                  <p:spPr>
                    <a:xfrm>
                      <a:off x="2266670" y="1915928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201" name="Straight Connector 200"/>
                    <p:cNvCxnSpPr/>
                    <p:nvPr/>
                  </p:nvCxnSpPr>
                  <p:spPr>
                    <a:xfrm>
                      <a:off x="2269285" y="1968649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</p:grpSp>
              <p:sp>
                <p:nvSpPr>
                  <p:cNvPr id="195" name="Rectangle 194"/>
                  <p:cNvSpPr/>
                  <p:nvPr/>
                </p:nvSpPr>
                <p:spPr>
                  <a:xfrm>
                    <a:off x="2567736" y="1853759"/>
                    <a:ext cx="1129312" cy="283436"/>
                  </a:xfrm>
                  <a:prstGeom prst="rect">
                    <a:avLst/>
                  </a:prstGeom>
                  <a:solidFill>
                    <a:srgbClr val="5B9BD5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 err="1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ZookeeperFC</a:t>
                    </a:r>
                    <a:endPara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46" name="Group 145"/>
                <p:cNvGrpSpPr/>
                <p:nvPr/>
              </p:nvGrpSpPr>
              <p:grpSpPr>
                <a:xfrm>
                  <a:off x="6383429" y="5307174"/>
                  <a:ext cx="1431852" cy="508602"/>
                  <a:chOff x="6397943" y="5539398"/>
                  <a:chExt cx="1431852" cy="508602"/>
                </a:xfrm>
              </p:grpSpPr>
              <p:grpSp>
                <p:nvGrpSpPr>
                  <p:cNvPr id="189" name="Group 188"/>
                  <p:cNvGrpSpPr/>
                  <p:nvPr/>
                </p:nvGrpSpPr>
                <p:grpSpPr>
                  <a:xfrm>
                    <a:off x="6397943" y="5722613"/>
                    <a:ext cx="1431852" cy="325387"/>
                    <a:chOff x="6397943" y="5722613"/>
                    <a:chExt cx="1431852" cy="325387"/>
                  </a:xfrm>
                </p:grpSpPr>
                <p:sp>
                  <p:nvSpPr>
                    <p:cNvPr id="191" name="Rectangle 190"/>
                    <p:cNvSpPr/>
                    <p:nvPr/>
                  </p:nvSpPr>
                  <p:spPr>
                    <a:xfrm>
                      <a:off x="6397943" y="5722613"/>
                      <a:ext cx="1431852" cy="325387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12700" cap="flat" cmpd="sng" algn="ctr">
                      <a:solidFill>
                        <a:srgbClr val="5B9BD5">
                          <a:lumMod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" name="Rectangle 191"/>
                    <p:cNvSpPr/>
                    <p:nvPr/>
                  </p:nvSpPr>
                  <p:spPr>
                    <a:xfrm>
                      <a:off x="6782892" y="5803690"/>
                      <a:ext cx="998809" cy="198137"/>
                    </a:xfrm>
                    <a:prstGeom prst="rect">
                      <a:avLst/>
                    </a:prstGeom>
                    <a:solidFill>
                      <a:srgbClr val="5B9BD5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ameNode</a:t>
                      </a:r>
                      <a:endParaRPr kumimoji="0" lang="en-US" sz="11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193" name="Picture 192"/>
                    <p:cNvPicPr>
                      <a:picLocks noChangeAspect="1"/>
                    </p:cNvPicPr>
                    <p:nvPr/>
                  </p:nvPicPr>
                  <p:blipFill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411112" y="5744435"/>
                      <a:ext cx="246790" cy="246790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190" name="Rectangle 189"/>
                  <p:cNvSpPr/>
                  <p:nvPr/>
                </p:nvSpPr>
                <p:spPr>
                  <a:xfrm>
                    <a:off x="6950723" y="5539398"/>
                    <a:ext cx="834232" cy="209547"/>
                  </a:xfrm>
                  <a:prstGeom prst="rect">
                    <a:avLst/>
                  </a:prstGeom>
                  <a:solidFill>
                    <a:srgbClr val="70AD47"/>
                  </a:solidFill>
                  <a:ln w="12700" cap="flat" cmpd="sng" algn="ctr">
                    <a:solidFill>
                      <a:sysClr val="window" lastClr="FFFFFF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Standby</a:t>
                    </a:r>
                  </a:p>
                </p:txBody>
              </p:sp>
            </p:grpSp>
            <p:grpSp>
              <p:nvGrpSpPr>
                <p:cNvPr id="147" name="Group 146"/>
                <p:cNvGrpSpPr/>
                <p:nvPr/>
              </p:nvGrpSpPr>
              <p:grpSpPr>
                <a:xfrm>
                  <a:off x="202600" y="5247177"/>
                  <a:ext cx="1699891" cy="554327"/>
                  <a:chOff x="6397943" y="5493673"/>
                  <a:chExt cx="1699891" cy="554327"/>
                </a:xfrm>
              </p:grpSpPr>
              <p:grpSp>
                <p:nvGrpSpPr>
                  <p:cNvPr id="184" name="Group 183"/>
                  <p:cNvGrpSpPr/>
                  <p:nvPr/>
                </p:nvGrpSpPr>
                <p:grpSpPr>
                  <a:xfrm>
                    <a:off x="6397943" y="5722613"/>
                    <a:ext cx="1431852" cy="325387"/>
                    <a:chOff x="6397943" y="5722613"/>
                    <a:chExt cx="1431852" cy="325387"/>
                  </a:xfrm>
                </p:grpSpPr>
                <p:sp>
                  <p:nvSpPr>
                    <p:cNvPr id="186" name="Rectangle 185"/>
                    <p:cNvSpPr/>
                    <p:nvPr/>
                  </p:nvSpPr>
                  <p:spPr>
                    <a:xfrm>
                      <a:off x="6397943" y="5722613"/>
                      <a:ext cx="1431852" cy="325387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12700" cap="flat" cmpd="sng" algn="ctr">
                      <a:solidFill>
                        <a:srgbClr val="5B9BD5">
                          <a:lumMod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7" name="Rectangle 186"/>
                    <p:cNvSpPr/>
                    <p:nvPr/>
                  </p:nvSpPr>
                  <p:spPr>
                    <a:xfrm>
                      <a:off x="6657996" y="5756997"/>
                      <a:ext cx="976296" cy="291001"/>
                    </a:xfrm>
                    <a:prstGeom prst="rect">
                      <a:avLst/>
                    </a:prstGeom>
                    <a:solidFill>
                      <a:srgbClr val="5B9BD5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ameNode</a:t>
                      </a:r>
                      <a:endParaRPr kumimoji="0" lang="en-US" sz="11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188" name="Picture 187"/>
                    <p:cNvPicPr>
                      <a:picLocks noChangeAspect="1"/>
                    </p:cNvPicPr>
                    <p:nvPr/>
                  </p:nvPicPr>
                  <p:blipFill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411112" y="5744435"/>
                      <a:ext cx="246790" cy="246790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185" name="Rectangle 184"/>
                  <p:cNvSpPr/>
                  <p:nvPr/>
                </p:nvSpPr>
                <p:spPr>
                  <a:xfrm>
                    <a:off x="7263602" y="5493673"/>
                    <a:ext cx="834232" cy="209547"/>
                  </a:xfrm>
                  <a:prstGeom prst="rect">
                    <a:avLst/>
                  </a:prstGeom>
                  <a:solidFill>
                    <a:srgbClr val="70AD47"/>
                  </a:solidFill>
                  <a:ln w="12700" cap="flat" cmpd="sng" algn="ctr">
                    <a:solidFill>
                      <a:sysClr val="window" lastClr="FFFFFF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ctive</a:t>
                    </a:r>
                  </a:p>
                </p:txBody>
              </p:sp>
            </p:grpSp>
            <p:grpSp>
              <p:nvGrpSpPr>
                <p:cNvPr id="148" name="Group 147"/>
                <p:cNvGrpSpPr/>
                <p:nvPr/>
              </p:nvGrpSpPr>
              <p:grpSpPr>
                <a:xfrm>
                  <a:off x="1233712" y="6052458"/>
                  <a:ext cx="5509575" cy="638629"/>
                  <a:chOff x="1233712" y="6052458"/>
                  <a:chExt cx="5509575" cy="638629"/>
                </a:xfrm>
              </p:grpSpPr>
              <p:sp>
                <p:nvSpPr>
                  <p:cNvPr id="168" name="Rectangle 167"/>
                  <p:cNvSpPr/>
                  <p:nvPr/>
                </p:nvSpPr>
                <p:spPr>
                  <a:xfrm>
                    <a:off x="1233712" y="6052458"/>
                    <a:ext cx="5509575" cy="638629"/>
                  </a:xfrm>
                  <a:prstGeom prst="rect">
                    <a:avLst/>
                  </a:prstGeom>
                  <a:solidFill>
                    <a:srgbClr val="5B9BD5">
                      <a:lumMod val="20000"/>
                      <a:lumOff val="80000"/>
                    </a:srgb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69" name="Group 168"/>
                  <p:cNvGrpSpPr/>
                  <p:nvPr/>
                </p:nvGrpSpPr>
                <p:grpSpPr>
                  <a:xfrm>
                    <a:off x="1557219" y="6241142"/>
                    <a:ext cx="1341197" cy="387473"/>
                    <a:chOff x="2596811" y="5852414"/>
                    <a:chExt cx="1431852" cy="328074"/>
                  </a:xfrm>
                </p:grpSpPr>
                <p:grpSp>
                  <p:nvGrpSpPr>
                    <p:cNvPr id="180" name="Group 179"/>
                    <p:cNvGrpSpPr/>
                    <p:nvPr/>
                  </p:nvGrpSpPr>
                  <p:grpSpPr>
                    <a:xfrm>
                      <a:off x="2596811" y="5852414"/>
                      <a:ext cx="1431852" cy="325387"/>
                      <a:chOff x="6397943" y="5722613"/>
                      <a:chExt cx="1431852" cy="325387"/>
                    </a:xfrm>
                  </p:grpSpPr>
                  <p:sp>
                    <p:nvSpPr>
                      <p:cNvPr id="182" name="Rectangle 181"/>
                      <p:cNvSpPr/>
                      <p:nvPr/>
                    </p:nvSpPr>
                    <p:spPr>
                      <a:xfrm>
                        <a:off x="6397943" y="5722613"/>
                        <a:ext cx="1431852" cy="325387"/>
                      </a:xfrm>
                      <a:prstGeom prst="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rgbClr val="5B9BD5">
                            <a:lumMod val="50000"/>
                          </a:srgbClr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83" name="Rectangle 182"/>
                      <p:cNvSpPr/>
                      <p:nvPr/>
                    </p:nvSpPr>
                    <p:spPr>
                      <a:xfrm>
                        <a:off x="6771060" y="5762123"/>
                        <a:ext cx="1053472" cy="285877"/>
                      </a:xfrm>
                      <a:prstGeom prst="rect">
                        <a:avLst/>
                      </a:prstGeom>
                      <a:solidFill>
                        <a:srgbClr val="5B9BD5"/>
                      </a:solidFill>
                      <a:ln w="12700" cap="flat" cmpd="sng" algn="ctr">
                        <a:solidFill>
                          <a:srgbClr val="5B9BD5">
                            <a:shade val="50000"/>
                          </a:srgbClr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100" b="0" i="0" u="none" strike="noStrike" kern="0" cap="none" spc="0" normalizeH="0" baseline="0" noProof="0" dirty="0" err="1" smtClean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ataNode</a:t>
                        </a:r>
                        <a:endParaRPr kumimoji="0" lang="en-US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pic>
                  <p:nvPicPr>
                    <p:cNvPr id="181" name="Picture 180"/>
                    <p:cNvPicPr>
                      <a:picLocks noChangeAspect="1"/>
                    </p:cNvPicPr>
                    <p:nvPr/>
                  </p:nvPicPr>
                  <p:blipFill>
                    <a:blip r:embed="rId3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617162" y="5871971"/>
                      <a:ext cx="278437" cy="308517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70" name="Group 169"/>
                  <p:cNvGrpSpPr/>
                  <p:nvPr/>
                </p:nvGrpSpPr>
                <p:grpSpPr>
                  <a:xfrm>
                    <a:off x="3055516" y="6241142"/>
                    <a:ext cx="1341197" cy="387473"/>
                    <a:chOff x="2596811" y="5852414"/>
                    <a:chExt cx="1431852" cy="328074"/>
                  </a:xfrm>
                </p:grpSpPr>
                <p:grpSp>
                  <p:nvGrpSpPr>
                    <p:cNvPr id="176" name="Group 175"/>
                    <p:cNvGrpSpPr/>
                    <p:nvPr/>
                  </p:nvGrpSpPr>
                  <p:grpSpPr>
                    <a:xfrm>
                      <a:off x="2596811" y="5852414"/>
                      <a:ext cx="1431852" cy="325387"/>
                      <a:chOff x="6397943" y="5722613"/>
                      <a:chExt cx="1431852" cy="325387"/>
                    </a:xfrm>
                  </p:grpSpPr>
                  <p:sp>
                    <p:nvSpPr>
                      <p:cNvPr id="178" name="Rectangle 177"/>
                      <p:cNvSpPr/>
                      <p:nvPr/>
                    </p:nvSpPr>
                    <p:spPr>
                      <a:xfrm>
                        <a:off x="6397943" y="5722613"/>
                        <a:ext cx="1431852" cy="325387"/>
                      </a:xfrm>
                      <a:prstGeom prst="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rgbClr val="5B9BD5">
                            <a:lumMod val="50000"/>
                          </a:srgbClr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79" name="Rectangle 178"/>
                      <p:cNvSpPr/>
                      <p:nvPr/>
                    </p:nvSpPr>
                    <p:spPr>
                      <a:xfrm>
                        <a:off x="6805925" y="5775027"/>
                        <a:ext cx="973549" cy="272973"/>
                      </a:xfrm>
                      <a:prstGeom prst="rect">
                        <a:avLst/>
                      </a:prstGeom>
                      <a:solidFill>
                        <a:srgbClr val="5B9BD5"/>
                      </a:solidFill>
                      <a:ln w="12700" cap="flat" cmpd="sng" algn="ctr">
                        <a:solidFill>
                          <a:srgbClr val="5B9BD5">
                            <a:shade val="50000"/>
                          </a:srgbClr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100" b="0" i="0" u="none" strike="noStrike" kern="0" cap="none" spc="0" normalizeH="0" baseline="0" noProof="0" dirty="0" err="1" smtClean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ataNode</a:t>
                        </a:r>
                        <a:endParaRPr kumimoji="0" lang="en-US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pic>
                  <p:nvPicPr>
                    <p:cNvPr id="177" name="Picture 176"/>
                    <p:cNvPicPr>
                      <a:picLocks noChangeAspect="1"/>
                    </p:cNvPicPr>
                    <p:nvPr/>
                  </p:nvPicPr>
                  <p:blipFill>
                    <a:blip r:embed="rId3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617162" y="5871971"/>
                      <a:ext cx="278437" cy="308517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71" name="Group 170"/>
                  <p:cNvGrpSpPr/>
                  <p:nvPr/>
                </p:nvGrpSpPr>
                <p:grpSpPr>
                  <a:xfrm>
                    <a:off x="5124911" y="6249330"/>
                    <a:ext cx="1341197" cy="387473"/>
                    <a:chOff x="2596811" y="5852414"/>
                    <a:chExt cx="1431852" cy="328074"/>
                  </a:xfrm>
                </p:grpSpPr>
                <p:grpSp>
                  <p:nvGrpSpPr>
                    <p:cNvPr id="172" name="Group 171"/>
                    <p:cNvGrpSpPr/>
                    <p:nvPr/>
                  </p:nvGrpSpPr>
                  <p:grpSpPr>
                    <a:xfrm>
                      <a:off x="2596811" y="5852414"/>
                      <a:ext cx="1431852" cy="325387"/>
                      <a:chOff x="6397943" y="5722613"/>
                      <a:chExt cx="1431852" cy="325387"/>
                    </a:xfrm>
                  </p:grpSpPr>
                  <p:sp>
                    <p:nvSpPr>
                      <p:cNvPr id="174" name="Rectangle 173"/>
                      <p:cNvSpPr/>
                      <p:nvPr/>
                    </p:nvSpPr>
                    <p:spPr>
                      <a:xfrm>
                        <a:off x="6397943" y="5722613"/>
                        <a:ext cx="1431852" cy="325387"/>
                      </a:xfrm>
                      <a:prstGeom prst="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rgbClr val="5B9BD5">
                            <a:lumMod val="50000"/>
                          </a:srgbClr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75" name="Rectangle 174"/>
                      <p:cNvSpPr/>
                      <p:nvPr/>
                    </p:nvSpPr>
                    <p:spPr>
                      <a:xfrm>
                        <a:off x="6805925" y="5780998"/>
                        <a:ext cx="986850" cy="267001"/>
                      </a:xfrm>
                      <a:prstGeom prst="rect">
                        <a:avLst/>
                      </a:prstGeom>
                      <a:solidFill>
                        <a:srgbClr val="5B9BD5"/>
                      </a:solidFill>
                      <a:ln w="12700" cap="flat" cmpd="sng" algn="ctr">
                        <a:solidFill>
                          <a:srgbClr val="5B9BD5">
                            <a:shade val="50000"/>
                          </a:srgbClr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0" i="0" u="none" strike="noStrike" kern="0" cap="none" spc="0" normalizeH="0" baseline="0" noProof="0" dirty="0" err="1" smtClean="0">
                            <a:ln>
                              <a:noFill/>
                            </a:ln>
                            <a:solidFill>
                              <a:prstClr val="white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ataNode</a:t>
                        </a:r>
                        <a:endParaRPr kumimoji="0" lang="en-US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pic>
                  <p:nvPicPr>
                    <p:cNvPr id="173" name="Picture 172"/>
                    <p:cNvPicPr>
                      <a:picLocks noChangeAspect="1"/>
                    </p:cNvPicPr>
                    <p:nvPr/>
                  </p:nvPicPr>
                  <p:blipFill>
                    <a:blip r:embed="rId3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617162" y="5871971"/>
                      <a:ext cx="278437" cy="308517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149" name="Group 148"/>
                <p:cNvGrpSpPr/>
                <p:nvPr/>
              </p:nvGrpSpPr>
              <p:grpSpPr>
                <a:xfrm>
                  <a:off x="6396598" y="3186952"/>
                  <a:ext cx="1442791" cy="325387"/>
                  <a:chOff x="2264534" y="1738648"/>
                  <a:chExt cx="1440477" cy="450760"/>
                </a:xfrm>
              </p:grpSpPr>
              <p:grpSp>
                <p:nvGrpSpPr>
                  <p:cNvPr id="160" name="Group 159"/>
                  <p:cNvGrpSpPr/>
                  <p:nvPr/>
                </p:nvGrpSpPr>
                <p:grpSpPr>
                  <a:xfrm>
                    <a:off x="2264534" y="1738648"/>
                    <a:ext cx="1431703" cy="450760"/>
                    <a:chOff x="2264534" y="1738648"/>
                    <a:chExt cx="1431703" cy="450760"/>
                  </a:xfrm>
                </p:grpSpPr>
                <p:sp>
                  <p:nvSpPr>
                    <p:cNvPr id="162" name="Rectangle 161"/>
                    <p:cNvSpPr/>
                    <p:nvPr/>
                  </p:nvSpPr>
                  <p:spPr>
                    <a:xfrm>
                      <a:off x="2266682" y="1738648"/>
                      <a:ext cx="1429555" cy="45076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12700" cap="flat" cmpd="sng" algn="ctr">
                      <a:solidFill>
                        <a:srgbClr val="5B9BD5">
                          <a:lumMod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63" name="Rectangle 162"/>
                    <p:cNvSpPr/>
                    <p:nvPr/>
                  </p:nvSpPr>
                  <p:spPr>
                    <a:xfrm>
                      <a:off x="2266682" y="1738648"/>
                      <a:ext cx="244698" cy="283335"/>
                    </a:xfrm>
                    <a:prstGeom prst="rect">
                      <a:avLst/>
                    </a:prstGeom>
                    <a:solidFill>
                      <a:srgbClr val="5B9BD5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cxnSp>
                  <p:nvCxnSpPr>
                    <p:cNvPr id="164" name="Straight Connector 163"/>
                    <p:cNvCxnSpPr/>
                    <p:nvPr/>
                  </p:nvCxnSpPr>
                  <p:spPr>
                    <a:xfrm>
                      <a:off x="2266682" y="1815921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65" name="Straight Connector 164"/>
                    <p:cNvCxnSpPr/>
                    <p:nvPr/>
                  </p:nvCxnSpPr>
                  <p:spPr>
                    <a:xfrm>
                      <a:off x="2264534" y="1868642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66" name="Straight Connector 165"/>
                    <p:cNvCxnSpPr/>
                    <p:nvPr/>
                  </p:nvCxnSpPr>
                  <p:spPr>
                    <a:xfrm>
                      <a:off x="2266670" y="1915928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67" name="Straight Connector 166"/>
                    <p:cNvCxnSpPr/>
                    <p:nvPr/>
                  </p:nvCxnSpPr>
                  <p:spPr>
                    <a:xfrm>
                      <a:off x="2269285" y="1968649"/>
                      <a:ext cx="244698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>
                    <a:effectLst/>
                  </p:spPr>
                </p:cxnSp>
              </p:grpSp>
              <p:sp>
                <p:nvSpPr>
                  <p:cNvPr id="161" name="Rectangle 160"/>
                  <p:cNvSpPr/>
                  <p:nvPr/>
                </p:nvSpPr>
                <p:spPr>
                  <a:xfrm>
                    <a:off x="2567737" y="1748192"/>
                    <a:ext cx="1137274" cy="389003"/>
                  </a:xfrm>
                  <a:prstGeom prst="rect">
                    <a:avLst/>
                  </a:prstGeom>
                  <a:solidFill>
                    <a:srgbClr val="5B9BD5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 err="1" smtClean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ZookeeperFC</a:t>
                    </a:r>
                    <a:endPara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50" name="TextBox 149"/>
                <p:cNvSpPr txBox="1"/>
                <p:nvPr/>
              </p:nvSpPr>
              <p:spPr>
                <a:xfrm>
                  <a:off x="2149260" y="1303931"/>
                  <a:ext cx="2585401" cy="52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rPr>
                    <a:t>Zookeeper Service</a:t>
                  </a:r>
                </a:p>
              </p:txBody>
            </p:sp>
            <p:sp>
              <p:nvSpPr>
                <p:cNvPr id="151" name="TextBox 150"/>
                <p:cNvSpPr txBox="1"/>
                <p:nvPr/>
              </p:nvSpPr>
              <p:spPr>
                <a:xfrm>
                  <a:off x="2071315" y="3739285"/>
                  <a:ext cx="199336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rPr>
                    <a:t>Shared Edits</a:t>
                  </a:r>
                </a:p>
              </p:txBody>
            </p:sp>
            <p:cxnSp>
              <p:nvCxnSpPr>
                <p:cNvPr id="152" name="Straight Arrow Connector 151"/>
                <p:cNvCxnSpPr/>
                <p:nvPr/>
              </p:nvCxnSpPr>
              <p:spPr>
                <a:xfrm flipV="1">
                  <a:off x="702972" y="2021984"/>
                  <a:ext cx="1134118" cy="1017662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C00000"/>
                  </a:solidFill>
                  <a:prstDash val="dashDot"/>
                  <a:miter lim="800000"/>
                  <a:tailEnd type="triangle"/>
                </a:ln>
                <a:effectLst/>
              </p:spPr>
            </p:cxnSp>
            <p:cxnSp>
              <p:nvCxnSpPr>
                <p:cNvPr id="153" name="Straight Arrow Connector 152"/>
                <p:cNvCxnSpPr/>
                <p:nvPr/>
              </p:nvCxnSpPr>
              <p:spPr>
                <a:xfrm flipH="1" flipV="1">
                  <a:off x="6218640" y="2000804"/>
                  <a:ext cx="944160" cy="1034013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C00000"/>
                  </a:solidFill>
                  <a:prstDash val="dashDot"/>
                  <a:miter lim="800000"/>
                  <a:tailEnd type="triangle"/>
                </a:ln>
                <a:effectLst/>
              </p:spPr>
            </p:cxnSp>
            <p:cxnSp>
              <p:nvCxnSpPr>
                <p:cNvPr id="154" name="Straight Arrow Connector 153"/>
                <p:cNvCxnSpPr/>
                <p:nvPr/>
              </p:nvCxnSpPr>
              <p:spPr>
                <a:xfrm>
                  <a:off x="918526" y="3714482"/>
                  <a:ext cx="0" cy="1460893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C00000"/>
                  </a:solidFill>
                  <a:prstDash val="dashDot"/>
                  <a:miter lim="800000"/>
                  <a:tailEnd type="triangle"/>
                </a:ln>
                <a:effectLst/>
              </p:spPr>
            </p:cxnSp>
            <p:cxnSp>
              <p:nvCxnSpPr>
                <p:cNvPr id="155" name="Straight Arrow Connector 154"/>
                <p:cNvCxnSpPr/>
                <p:nvPr/>
              </p:nvCxnSpPr>
              <p:spPr>
                <a:xfrm>
                  <a:off x="6954211" y="3714482"/>
                  <a:ext cx="0" cy="1460893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C00000"/>
                  </a:solidFill>
                  <a:prstDash val="dashDot"/>
                  <a:miter lim="800000"/>
                  <a:tailEnd type="triangle"/>
                </a:ln>
                <a:effectLst/>
              </p:spPr>
            </p:cxnSp>
            <p:cxnSp>
              <p:nvCxnSpPr>
                <p:cNvPr id="156" name="Straight Arrow Connector 155"/>
                <p:cNvCxnSpPr/>
                <p:nvPr/>
              </p:nvCxnSpPr>
              <p:spPr>
                <a:xfrm flipV="1">
                  <a:off x="1428885" y="4829857"/>
                  <a:ext cx="277801" cy="355160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C00000"/>
                  </a:solidFill>
                  <a:prstDash val="dashDot"/>
                  <a:miter lim="800000"/>
                  <a:tailEnd type="triangle"/>
                </a:ln>
                <a:effectLst/>
              </p:spPr>
            </p:cxnSp>
            <p:cxnSp>
              <p:nvCxnSpPr>
                <p:cNvPr id="157" name="Straight Arrow Connector 156"/>
                <p:cNvCxnSpPr/>
                <p:nvPr/>
              </p:nvCxnSpPr>
              <p:spPr>
                <a:xfrm>
                  <a:off x="6085501" y="4947610"/>
                  <a:ext cx="380607" cy="354394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C00000"/>
                  </a:solidFill>
                  <a:prstDash val="dashDot"/>
                  <a:miter lim="800000"/>
                  <a:tailEnd type="triangle"/>
                </a:ln>
                <a:effectLst/>
              </p:spPr>
            </p:cxnSp>
            <p:cxnSp>
              <p:nvCxnSpPr>
                <p:cNvPr id="158" name="Straight Arrow Connector 157"/>
                <p:cNvCxnSpPr/>
                <p:nvPr/>
              </p:nvCxnSpPr>
              <p:spPr>
                <a:xfrm flipH="1" flipV="1">
                  <a:off x="789142" y="5900973"/>
                  <a:ext cx="373174" cy="340169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C00000"/>
                  </a:solidFill>
                  <a:prstDash val="dashDot"/>
                  <a:miter lim="800000"/>
                  <a:tailEnd type="triangle"/>
                </a:ln>
                <a:effectLst/>
              </p:spPr>
            </p:cxnSp>
            <p:cxnSp>
              <p:nvCxnSpPr>
                <p:cNvPr id="159" name="Straight Arrow Connector 158"/>
                <p:cNvCxnSpPr/>
                <p:nvPr/>
              </p:nvCxnSpPr>
              <p:spPr>
                <a:xfrm flipV="1">
                  <a:off x="6904936" y="5938027"/>
                  <a:ext cx="296017" cy="377943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C00000"/>
                  </a:solidFill>
                  <a:prstDash val="dashDot"/>
                  <a:miter lim="800000"/>
                  <a:tailEnd type="triangle"/>
                </a:ln>
                <a:effectLst/>
              </p:spPr>
            </p:cxnSp>
          </p:grpSp>
          <p:sp>
            <p:nvSpPr>
              <p:cNvPr id="131" name="TextBox 130"/>
              <p:cNvSpPr txBox="1"/>
              <p:nvPr/>
            </p:nvSpPr>
            <p:spPr>
              <a:xfrm>
                <a:off x="808380" y="648577"/>
                <a:ext cx="1611084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Monitor and maintain active lock</a:t>
                </a:r>
              </a:p>
            </p:txBody>
          </p:sp>
          <p:sp>
            <p:nvSpPr>
              <p:cNvPr id="132" name="TextBox 131"/>
              <p:cNvSpPr txBox="1"/>
              <p:nvPr/>
            </p:nvSpPr>
            <p:spPr>
              <a:xfrm>
                <a:off x="7991755" y="1248929"/>
                <a:ext cx="185344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Monitor and try to take active lock</a:t>
                </a:r>
              </a:p>
            </p:txBody>
          </p:sp>
          <p:sp>
            <p:nvSpPr>
              <p:cNvPr id="133" name="TextBox 132"/>
              <p:cNvSpPr txBox="1"/>
              <p:nvPr/>
            </p:nvSpPr>
            <p:spPr>
              <a:xfrm>
                <a:off x="7997918" y="3131968"/>
                <a:ext cx="185344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Monitor liveness &amp; heath</a:t>
                </a:r>
              </a:p>
            </p:txBody>
          </p:sp>
          <p:sp>
            <p:nvSpPr>
              <p:cNvPr id="134" name="TextBox 133"/>
              <p:cNvSpPr txBox="1"/>
              <p:nvPr/>
            </p:nvSpPr>
            <p:spPr>
              <a:xfrm>
                <a:off x="6312699" y="4679117"/>
                <a:ext cx="1853449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Read</a:t>
                </a:r>
              </a:p>
            </p:txBody>
          </p:sp>
          <p:sp>
            <p:nvSpPr>
              <p:cNvPr id="135" name="TextBox 134"/>
              <p:cNvSpPr txBox="1"/>
              <p:nvPr/>
            </p:nvSpPr>
            <p:spPr>
              <a:xfrm>
                <a:off x="2493538" y="4776133"/>
                <a:ext cx="1853449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Write</a:t>
                </a:r>
              </a:p>
            </p:txBody>
          </p:sp>
          <p:cxnSp>
            <p:nvCxnSpPr>
              <p:cNvPr id="136" name="Straight Connector 135"/>
              <p:cNvCxnSpPr/>
              <p:nvPr/>
            </p:nvCxnSpPr>
            <p:spPr>
              <a:xfrm>
                <a:off x="5642109" y="5730280"/>
                <a:ext cx="540020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" lastClr="FFFFFF"/>
                </a:solidFill>
                <a:prstDash val="dash"/>
                <a:miter lim="800000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20591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</a:rPr>
              <a:t>What is Big Data ?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35274" y="1138887"/>
            <a:ext cx="33241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>
              <a:lnSpc>
                <a:spcPct val="200000"/>
              </a:lnSpc>
              <a:buClr>
                <a:srgbClr val="0070C0"/>
              </a:buClr>
            </a:pPr>
            <a:r>
              <a:rPr lang="en-US" sz="18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hat is Big Data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447" y="1240223"/>
            <a:ext cx="5858066" cy="267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02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Big Data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626" y="718657"/>
            <a:ext cx="6533660" cy="392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53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How Big Data is stored ?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166" y="1398518"/>
            <a:ext cx="2903371" cy="2903371"/>
          </a:xfrm>
          <a:prstGeom prst="rect">
            <a:avLst/>
          </a:prstGeom>
        </p:spPr>
      </p:pic>
      <p:sp>
        <p:nvSpPr>
          <p:cNvPr id="6" name="Oval Callout 5"/>
          <p:cNvSpPr/>
          <p:nvPr/>
        </p:nvSpPr>
        <p:spPr>
          <a:xfrm>
            <a:off x="4889366" y="807396"/>
            <a:ext cx="1793535" cy="1468876"/>
          </a:xfrm>
          <a:prstGeom prst="wedgeEllipseCallout">
            <a:avLst/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w do you store Big Data, I guess RDBMS?</a:t>
            </a:r>
            <a:endParaRPr lang="en-US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866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RDBMS – Not the right choice for Big Data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2844" y="2096131"/>
            <a:ext cx="40758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idering the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ype and volume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data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DBMS is not the right choice for storing Big Data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8732" y="819454"/>
            <a:ext cx="4067175" cy="3076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41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Hadoop : The Savior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8019" y="96838"/>
            <a:ext cx="5398753" cy="42447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2983" y="1588916"/>
            <a:ext cx="2842645" cy="2752690"/>
          </a:xfrm>
          <a:prstGeom prst="rect">
            <a:avLst/>
          </a:prstGeom>
        </p:spPr>
      </p:pic>
      <p:sp>
        <p:nvSpPr>
          <p:cNvPr id="4" name="Cloud Callout 3"/>
          <p:cNvSpPr/>
          <p:nvPr/>
        </p:nvSpPr>
        <p:spPr>
          <a:xfrm>
            <a:off x="2454471" y="729575"/>
            <a:ext cx="1407409" cy="739302"/>
          </a:xfrm>
          <a:prstGeom prst="cloudCallou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805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at is Hadoop ?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2844" y="1157592"/>
            <a:ext cx="8025318" cy="7899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ache Hadoop is an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n source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alable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nd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liable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olution </a:t>
            </a:r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t </a:t>
            </a: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ores and allows distributed processing of large data sets </a:t>
            </a:r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ross clusters of computers using simple programming model</a:t>
            </a:r>
          </a:p>
          <a:p>
            <a:pPr defTabSz="430213">
              <a:spcAft>
                <a:spcPts val="400"/>
              </a:spcAft>
              <a:buSzPct val="100000"/>
            </a:pPr>
            <a:endParaRPr lang="en-US" sz="14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421" y="2942035"/>
            <a:ext cx="3193708" cy="154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35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A closer look at Apache Hadoop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8017" y="910710"/>
            <a:ext cx="774321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ache Hadoop includes following modules :</a:t>
            </a:r>
          </a:p>
          <a:p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Distributed File System (HDFS)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A distributed file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ste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Common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The common utilities that support the other Hadoop modul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YARN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A framework for job scheduling and cluster resource manage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 MapReduce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A YARN-based system for parallel processing of large data set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421" y="2942035"/>
            <a:ext cx="3193708" cy="154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55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683</TotalTime>
  <Words>669</Words>
  <Application>Microsoft Office PowerPoint</Application>
  <PresentationFormat>On-screen Show (16:9)</PresentationFormat>
  <Paragraphs>206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Tahoma</vt:lpstr>
      <vt:lpstr>Calibri</vt:lpstr>
      <vt:lpstr>Futura Bk</vt:lpstr>
      <vt:lpstr>Lucida Grande</vt:lpstr>
      <vt:lpstr>Wingdings</vt:lpstr>
      <vt:lpstr>HP Simplified</vt:lpstr>
      <vt:lpstr>Arial</vt:lpstr>
      <vt:lpstr>Futura Hv</vt:lpstr>
      <vt:lpstr>Courier New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htab Alam</dc:creator>
  <cp:lastModifiedBy>Vardhan</cp:lastModifiedBy>
  <cp:revision>446</cp:revision>
  <cp:lastPrinted>2012-04-13T15:38:33Z</cp:lastPrinted>
  <dcterms:created xsi:type="dcterms:W3CDTF">2012-05-02T14:03:12Z</dcterms:created>
  <dcterms:modified xsi:type="dcterms:W3CDTF">2015-10-22T06:04:33Z</dcterms:modified>
</cp:coreProperties>
</file>